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677" r:id="rId6"/>
    <p:sldMasterId id="2147483680" r:id="rId7"/>
  </p:sldMasterIdLst>
  <p:notesMasterIdLst>
    <p:notesMasterId r:id="rId15"/>
  </p:notesMasterIdLst>
  <p:sldIdLst>
    <p:sldId id="682" r:id="rId8"/>
    <p:sldId id="1449" r:id="rId9"/>
    <p:sldId id="681" r:id="rId10"/>
    <p:sldId id="1452" r:id="rId11"/>
    <p:sldId id="296" r:id="rId12"/>
    <p:sldId id="1455" r:id="rId13"/>
    <p:sldId id="31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1287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852" y="31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212455386\Box%20Sync\CoS%20folder\CoS%20Outputs\T-blocks\FAOSTAT_data_6-14-2019%20(2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AOSTAT_data_6-14-2019 (2)'!$C$4</c:f>
              <c:strCache>
                <c:ptCount val="1"/>
                <c:pt idx="0">
                  <c:v>Billions</c:v>
                </c:pt>
              </c:strCache>
            </c:strRef>
          </c:tx>
          <c:spPr>
            <a:solidFill>
              <a:srgbClr val="112870"/>
            </a:solidFill>
            <a:ln>
              <a:noFill/>
            </a:ln>
            <a:effectLst/>
          </c:spPr>
          <c:invertIfNegative val="0"/>
          <c:cat>
            <c:numRef>
              <c:f>'FAOSTAT_data_6-14-2019 (2)'!$D$1:$J$1</c:f>
              <c:numCache>
                <c:formatCode>General</c:formatCode>
                <c:ptCount val="7"/>
                <c:pt idx="0">
                  <c:v>1960</c:v>
                </c:pt>
                <c:pt idx="1">
                  <c:v>1970</c:v>
                </c:pt>
                <c:pt idx="2">
                  <c:v>1980</c:v>
                </c:pt>
                <c:pt idx="3">
                  <c:v>1990</c:v>
                </c:pt>
                <c:pt idx="4">
                  <c:v>2000</c:v>
                </c:pt>
                <c:pt idx="5">
                  <c:v>2010</c:v>
                </c:pt>
                <c:pt idx="6">
                  <c:v>2016</c:v>
                </c:pt>
              </c:numCache>
            </c:numRef>
          </c:cat>
          <c:val>
            <c:numRef>
              <c:f>'FAOSTAT_data_6-14-2019 (2)'!$D$4:$J$4</c:f>
              <c:numCache>
                <c:formatCode>_-* #,##0.0\ _F_t_-;\-* #,##0.0\ _F_t_-;_-* "-"??\ _F_t_-;_-@_-</c:formatCode>
                <c:ptCount val="7"/>
                <c:pt idx="0">
                  <c:v>3.0332125269999999</c:v>
                </c:pt>
                <c:pt idx="1">
                  <c:v>3.7005776499999996</c:v>
                </c:pt>
                <c:pt idx="2">
                  <c:v>4.4584115339999997</c:v>
                </c:pt>
                <c:pt idx="3">
                  <c:v>5.3309434600000003</c:v>
                </c:pt>
                <c:pt idx="4">
                  <c:v>6.1450069890000005</c:v>
                </c:pt>
                <c:pt idx="5">
                  <c:v>6.9581691589999997</c:v>
                </c:pt>
                <c:pt idx="6">
                  <c:v>7.46696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76-4DD4-BB48-A634D9DF5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1990248"/>
        <c:axId val="571986312"/>
      </c:barChart>
      <c:lineChart>
        <c:grouping val="standard"/>
        <c:varyColors val="0"/>
        <c:ser>
          <c:idx val="1"/>
          <c:order val="1"/>
          <c:tx>
            <c:strRef>
              <c:f>'FAOSTAT_data_6-14-2019 (2)'!$C$5</c:f>
              <c:strCache>
                <c:ptCount val="1"/>
                <c:pt idx="0">
                  <c:v>Arable land (hectares per person)</c:v>
                </c:pt>
              </c:strCache>
            </c:strRef>
          </c:tx>
          <c:spPr>
            <a:ln w="28575" cap="rnd">
              <a:solidFill>
                <a:srgbClr val="B4C7E7"/>
              </a:solidFill>
              <a:round/>
            </a:ln>
            <a:effectLst/>
          </c:spPr>
          <c:marker>
            <c:symbol val="none"/>
          </c:marker>
          <c:cat>
            <c:numRef>
              <c:f>'FAOSTAT_data_6-14-2019 (2)'!$D$1:$J$1</c:f>
              <c:numCache>
                <c:formatCode>General</c:formatCode>
                <c:ptCount val="7"/>
                <c:pt idx="0">
                  <c:v>1960</c:v>
                </c:pt>
                <c:pt idx="1">
                  <c:v>1970</c:v>
                </c:pt>
                <c:pt idx="2">
                  <c:v>1980</c:v>
                </c:pt>
                <c:pt idx="3">
                  <c:v>1990</c:v>
                </c:pt>
                <c:pt idx="4">
                  <c:v>2000</c:v>
                </c:pt>
                <c:pt idx="5">
                  <c:v>2010</c:v>
                </c:pt>
                <c:pt idx="6">
                  <c:v>2016</c:v>
                </c:pt>
              </c:numCache>
            </c:numRef>
          </c:cat>
          <c:val>
            <c:numRef>
              <c:f>'FAOSTAT_data_6-14-2019 (2)'!$D$5:$J$5</c:f>
              <c:numCache>
                <c:formatCode>_-* #,##0.0\ _F_t_-;\-* #,##0.0\ _F_t_-;_-* "-"??\ _F_t_-;_-@_-</c:formatCode>
                <c:ptCount val="7"/>
                <c:pt idx="1">
                  <c:v>0.32089002767366637</c:v>
                </c:pt>
                <c:pt idx="2">
                  <c:v>0.26678871872914151</c:v>
                </c:pt>
                <c:pt idx="3">
                  <c:v>0.23558053419359842</c:v>
                </c:pt>
                <c:pt idx="4">
                  <c:v>0.22708749464725458</c:v>
                </c:pt>
                <c:pt idx="5">
                  <c:v>0.19870253703418123</c:v>
                </c:pt>
                <c:pt idx="6">
                  <c:v>0.19167809116167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76-4DD4-BB48-A634D9DF5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2112712"/>
        <c:axId val="302111728"/>
      </c:lineChart>
      <c:catAx>
        <c:axId val="571990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11287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986312"/>
        <c:crosses val="autoZero"/>
        <c:auto val="1"/>
        <c:lblAlgn val="ctr"/>
        <c:lblOffset val="100"/>
        <c:noMultiLvlLbl val="0"/>
      </c:catAx>
      <c:valAx>
        <c:axId val="571986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1287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990248"/>
        <c:crosses val="autoZero"/>
        <c:crossBetween val="between"/>
      </c:valAx>
      <c:valAx>
        <c:axId val="302111728"/>
        <c:scaling>
          <c:orientation val="minMax"/>
        </c:scaling>
        <c:delete val="0"/>
        <c:axPos val="r"/>
        <c:numFmt formatCode="_-* #,##0.0\ _F_t_-;\-* #,##0.0\ _F_t_-;_-* &quot;-&quot;??\ _F_t_-;_-@_-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1287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2112712"/>
        <c:crosses val="max"/>
        <c:crossBetween val="between"/>
      </c:valAx>
      <c:catAx>
        <c:axId val="302112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21117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DCBCD2-7C79-4B8D-A6B8-E40D935CC8FD}" type="datetimeFigureOut">
              <a:rPr lang="en-US" smtClean="0"/>
              <a:t>9/2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0B8C4-56A3-426A-8BF7-BAA66867C7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742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88C6D9-2459-4B3A-A376-810DE41AC45F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845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5BDC60-86BE-4698-B833-586FDB308E8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  <a:sym typeface="Calibri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2438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5BDC60-86BE-4698-B833-586FDB308E8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  <a:sym typeface="Calibri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9512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C52C3-A72B-4394-A49A-C77172464A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CC26C2-B49A-4F47-A299-913C26FDB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B2B0F-E2CB-41C7-80AF-992B3029C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6BDA2-1C9F-4ED7-BD62-41C26DE11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7C2D44-3A03-46FB-9495-289B3102C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089901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03811-1F7A-4BC4-9509-F570055F4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290458-26A5-4419-B28F-7A51F4B7CC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94793-C5D6-4D16-B26A-379720AF9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8692F-41EA-455A-A02C-864F939A4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65704-0F0E-40BA-AE4D-64A1519DB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84390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CED4A7-68CF-4CB0-8D4C-EADC68F0DD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0BC8E-5799-424B-9496-AABC640235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AD9FF7-9D44-40BA-9AF2-ECDD7BE4A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77BC9-DB83-4F4F-B00E-7B5715C5F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6882C5-3CAB-4AEA-8D6A-A51CABA18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06505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Monogr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14398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30" y="2211845"/>
            <a:ext cx="2448383" cy="2448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244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rgbClr val="1439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72" t="21271"/>
          <a:stretch>
            <a:fillRect/>
          </a:stretch>
        </p:blipFill>
        <p:spPr bwMode="auto">
          <a:xfrm>
            <a:off x="5997250" y="1064871"/>
            <a:ext cx="6194751" cy="5797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80" y="946279"/>
            <a:ext cx="4867275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946280" y="2122983"/>
            <a:ext cx="6264749" cy="1337853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799" i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07BD8C1F-D0A4-484E-9544-24EFD52398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6280" y="3460834"/>
            <a:ext cx="4467225" cy="254000"/>
          </a:xfrm>
          <a:prstGeom prst="rect">
            <a:avLst/>
          </a:prstGeom>
        </p:spPr>
        <p:txBody>
          <a:bodyPr/>
          <a:lstStyle>
            <a:lvl1pPr algn="l">
              <a:defRPr sz="1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2.4.2018</a:t>
            </a:r>
            <a:endParaRPr lang="en-CA" dirty="0"/>
          </a:p>
        </p:txBody>
      </p:sp>
      <p:pic>
        <p:nvPicPr>
          <p:cNvPr id="15" name="Picture 1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6865" y="4965444"/>
            <a:ext cx="946279" cy="9462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1258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9214A-36DF-2644-9876-BB6D702B8E55}" type="datetimeFigureOut">
              <a:rPr lang="de-DE" smtClean="0"/>
              <a:pPr/>
              <a:t>24.09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E4CF4-4761-D849-99B0-D2488CC9D52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332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2"/>
          <p:cNvSpPr>
            <a:spLocks noGrp="1"/>
          </p:cNvSpPr>
          <p:nvPr>
            <p:ph type="subTitle" idx="1"/>
          </p:nvPr>
        </p:nvSpPr>
        <p:spPr>
          <a:xfrm>
            <a:off x="438265" y="6343650"/>
            <a:ext cx="10969307" cy="51435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>
                <a:solidFill>
                  <a:schemeClr val="tx1"/>
                </a:solidFill>
                <a:latin typeface="Open Sans Light"/>
                <a:cs typeface="Open Sans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323936" y="2089150"/>
            <a:ext cx="10353195" cy="3511550"/>
          </a:xfrm>
          <a:prstGeom prst="rect">
            <a:avLst/>
          </a:prstGeo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Titel 6"/>
          <p:cNvSpPr txBox="1">
            <a:spLocks/>
          </p:cNvSpPr>
          <p:nvPr userDrawn="1"/>
        </p:nvSpPr>
        <p:spPr>
          <a:xfrm>
            <a:off x="317584" y="3321051"/>
            <a:ext cx="6154752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  <a:ea typeface="+mj-ea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936438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9214A-36DF-2644-9876-BB6D702B8E55}" type="datetimeFigureOut">
              <a:rPr lang="de-DE" smtClean="0"/>
              <a:pPr/>
              <a:t>24.09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E4CF4-4761-D849-99B0-D2488CC9D52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4864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Monogr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09E75F6-31D3-459D-927B-34499BC44BD3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1439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/>
          </a:p>
        </p:txBody>
      </p:sp>
      <p:pic>
        <p:nvPicPr>
          <p:cNvPr id="3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74610" y="2627454"/>
            <a:ext cx="1617382" cy="1617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2759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udapes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noProof="0" dirty="0"/>
          </a:p>
        </p:txBody>
      </p:sp>
      <p:sp>
        <p:nvSpPr>
          <p:cNvPr id="5" name="Rechteck 4"/>
          <p:cNvSpPr/>
          <p:nvPr userDrawn="1"/>
        </p:nvSpPr>
        <p:spPr>
          <a:xfrm>
            <a:off x="-1" y="1"/>
            <a:ext cx="12192000" cy="298122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noProof="0" dirty="0"/>
          </a:p>
        </p:txBody>
      </p:sp>
      <p:sp>
        <p:nvSpPr>
          <p:cNvPr id="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7585" y="6295631"/>
            <a:ext cx="11016343" cy="376546"/>
          </a:xfrm>
          <a:prstGeom prst="rect">
            <a:avLst/>
          </a:prstGeom>
        </p:spPr>
        <p:txBody>
          <a:bodyPr rIns="0">
            <a:noAutofit/>
          </a:bodyPr>
          <a:lstStyle>
            <a:lvl1pPr marL="0" indent="0" algn="r">
              <a:buNone/>
              <a:defRPr sz="1600" b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Name | Department | Date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323938" y="1426009"/>
            <a:ext cx="11573735" cy="1504521"/>
          </a:xfrm>
          <a:prstGeom prst="rect">
            <a:avLst/>
          </a:prstGeom>
        </p:spPr>
        <p:txBody>
          <a:bodyPr anchor="b"/>
          <a:lstStyle>
            <a:lvl1pPr algn="l">
              <a:defRPr sz="420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noProof="0" dirty="0"/>
              <a:t>Title slide with Budapest image,</a:t>
            </a:r>
            <a:br>
              <a:rPr lang="en-US" noProof="0" dirty="0"/>
            </a:br>
            <a:r>
              <a:rPr lang="en-US" noProof="0" dirty="0"/>
              <a:t>headline in Open Sans Light 42pt</a:t>
            </a:r>
          </a:p>
        </p:txBody>
      </p:sp>
      <p:sp>
        <p:nvSpPr>
          <p:cNvPr id="6" name="Titel 6"/>
          <p:cNvSpPr txBox="1">
            <a:spLocks/>
          </p:cNvSpPr>
          <p:nvPr userDrawn="1"/>
        </p:nvSpPr>
        <p:spPr>
          <a:xfrm>
            <a:off x="317584" y="3321054"/>
            <a:ext cx="6154752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0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799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  <a:ea typeface="+mj-ea"/>
              <a:cs typeface="Open Sans Light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228" y="431930"/>
            <a:ext cx="2266522" cy="64201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D9F9538-36EF-F449-B64A-8F8FCB5418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1569" y="6223481"/>
            <a:ext cx="396103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48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642941" y="304804"/>
            <a:ext cx="10992498" cy="1386415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0" algn="l" defTabSz="457147" rtl="0" eaLnBrk="1" latinLnBrk="0" hangingPunct="1">
              <a:spcBef>
                <a:spcPct val="0"/>
              </a:spcBef>
              <a:buNone/>
              <a:defRPr lang="en-US" sz="3199" kern="1200" dirty="0">
                <a:solidFill>
                  <a:schemeClr val="tx1"/>
                </a:solidFill>
                <a:latin typeface="Open Sans Light"/>
                <a:ea typeface="+mj-ea"/>
                <a:cs typeface="Open Sans Light"/>
              </a:defRPr>
            </a:lvl1pPr>
          </a:lstStyle>
          <a:p>
            <a:pPr>
              <a:defRPr/>
            </a:pPr>
            <a:r>
              <a:rPr lang="en-US" dirty="0"/>
              <a:t>Agenda with headline in one</a:t>
            </a:r>
            <a:br>
              <a:rPr lang="en-US" dirty="0"/>
            </a:br>
            <a:r>
              <a:rPr lang="en-US" dirty="0"/>
              <a:t>or two lines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715579" y="1826684"/>
            <a:ext cx="6919860" cy="449085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/>
            </a:lvl1pPr>
            <a:lvl2pPr marL="565200" indent="-565200">
              <a:buClr>
                <a:schemeClr val="accent1"/>
              </a:buClr>
              <a:buFont typeface="+mj-lt"/>
              <a:buAutoNum type="arabicPeriod"/>
              <a:defRPr sz="2000" baseline="0"/>
            </a:lvl2pPr>
            <a:lvl3pPr marL="809625" indent="-236538">
              <a:defRPr sz="2000" baseline="0"/>
            </a:lvl3pPr>
            <a:lvl4pPr marL="1076325" indent="-244475">
              <a:defRPr sz="2000" baseline="0"/>
            </a:lvl4pPr>
            <a:lvl5pPr marL="1343025" indent="-236538">
              <a:defRPr sz="2000" baseline="0"/>
            </a:lvl5pPr>
          </a:lstStyle>
          <a:p>
            <a:pPr lvl="1"/>
            <a:r>
              <a:rPr lang="en-US" noProof="0" dirty="0"/>
              <a:t>Tex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rth level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5379" y="6418719"/>
            <a:ext cx="265556" cy="366183"/>
          </a:xfrm>
          <a:prstGeom prst="rect">
            <a:avLst/>
          </a:prstGeom>
        </p:spPr>
        <p:txBody>
          <a:bodyPr lIns="0" rIns="0"/>
          <a:lstStyle>
            <a:lvl1pPr algn="ctr">
              <a:defRPr lang="de-DE" sz="100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256495B8-D781-4741-AE51-1200EA0E641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5901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28B7C-A21C-4719-8E3D-FB067C173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2AB0D3-4A4F-449F-971F-D0E06D589E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74CA-4A92-40C9-9300-3FD035F2D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AA796E-F392-4A3E-805B-CCC53D2F5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753613-E56E-4A64-A95C-5E4EA3925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575713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noProof="0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4075611" y="4094537"/>
            <a:ext cx="4040776" cy="41036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noProof="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ungsram.com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001" y="2711506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563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29F5E-E3FB-41EF-9562-277C55472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5D6A7F-F8F9-4D7D-8CC5-C128E2A05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3DA59C-803D-434E-A68A-AD83D0FCE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ADE30D-12B9-4B71-813F-18B1F4C6E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F83DF0-B302-429A-876E-553572977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22435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1F7E3-2606-4EC1-AFF3-65659414C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10FBB9-42CD-471B-8796-167592BC2D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1F8AE8-5BB1-4900-878B-A3DAEABAA6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5780DD-FA41-4FB6-B7BC-FD54E0A80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4C73F5-C2F4-4AD4-9ADF-6687D84A4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048CE5-CBA8-4688-BDC0-CE6E6D944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5878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06975-92F6-428F-8C07-A9A60D623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3E0029-C298-4AC3-B3AD-98072BA45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50624C-48E5-4C99-8222-04F42CA19F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07A1C6-20B6-4120-BD42-2206D019EE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C9774B-403F-4ECF-9BFE-1A43452E23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D2220-2ACE-425D-9C0B-809F7160BB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40CD9C-4E24-4D67-B639-2F76A8988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2EC57A-9331-4039-8B4C-72A4E7DEC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39171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387B2A-DCAE-4EA7-B2CD-4B5CA362F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E3405C-59EA-41A9-BDFD-038108F95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A91B-5AF4-423A-8453-8556F8E7B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6098CD-3C88-4B10-8BAA-09045259D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01552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7CF222-BA4E-46E1-8810-B5BF405DF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F84110-46E8-4C2D-80B9-7EAEEBB5E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72E10-E4D5-4FDE-8069-51E42985F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61552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7B514-BC9A-493C-A758-CE466C64A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40A3A2-85B8-4028-B04C-755F2BCDD1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D84110-7041-41F6-9C35-DF93BF7B8C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650495-81D0-4896-BEA0-9FD64A72F7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1F371D-CAE2-446B-AA1C-0F8F703C3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364701-3D4E-47D8-91D0-1D85D9032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0386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7D398-6B00-4A3D-9EE3-19B036111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835E83-0D92-4F1E-98EB-73AA39D837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2E28AF-5B7B-4DEC-89E0-8FA88CAD16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DDB64F-950C-4515-BFDD-3C30FBC5C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03CBD6-1AB5-4C71-8EE6-45A07304C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854695-CC19-4023-872E-153EF673B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91669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35D75E-492F-4B72-934E-7CF2B62B8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BA42CB-5F28-42A9-947B-1737EEBB87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263F6E-2053-4742-AE62-534D4147EE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818AD4-E981-4DD4-B078-2D0D5AE63649}" type="datetimeFigureOut">
              <a:rPr lang="hu-HU" smtClean="0"/>
              <a:t>2020. 09. 24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7673A2-353D-4928-95DC-C65AF47561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B9B74F-EBE0-4D7E-9E4C-05838A704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E7EBC2-4D48-46E9-95D7-7821EDCF6D7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9209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19xxxx Tungsram_Präsentation_PPTbasis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207180" cy="6863359"/>
          </a:xfrm>
          <a:prstGeom prst="rect">
            <a:avLst/>
          </a:prstGeom>
        </p:spPr>
      </p:pic>
      <p:pic>
        <p:nvPicPr>
          <p:cNvPr id="11" name="Bild 10" descr="Tungsram-Logo_slogan_white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8528" y="301480"/>
            <a:ext cx="2533135" cy="934093"/>
          </a:xfrm>
          <a:prstGeom prst="rect">
            <a:avLst/>
          </a:prstGeom>
        </p:spPr>
      </p:pic>
      <p:pic>
        <p:nvPicPr>
          <p:cNvPr id="12" name="Bild 11" descr="Tungsram-T-emblem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518368" y="6226840"/>
            <a:ext cx="380013" cy="37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54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759" y="6356351"/>
            <a:ext cx="284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39214A-36DF-2644-9876-BB6D702B8E55}" type="datetimeFigureOut">
              <a:rPr lang="de-DE" smtClean="0"/>
              <a:pPr/>
              <a:t>24.09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098" y="6356351"/>
            <a:ext cx="3861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8288" y="6356351"/>
            <a:ext cx="28439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E4CF4-4761-D849-99B0-D2488CC9D52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08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642941" y="304803"/>
            <a:ext cx="10992500" cy="13864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 dirty="0"/>
              <a:t>Title master format – click to edit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642941" y="1826685"/>
            <a:ext cx="10992500" cy="44908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dirty="0"/>
              <a:t>Text master format – click to edit</a:t>
            </a:r>
          </a:p>
          <a:p>
            <a:pPr lvl="1"/>
            <a:r>
              <a:rPr lang="en-US" noProof="0" dirty="0"/>
              <a:t>Tex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rth level</a:t>
            </a:r>
          </a:p>
        </p:txBody>
      </p:sp>
    </p:spTree>
    <p:extLst>
      <p:ext uri="{BB962C8B-B14F-4D97-AF65-F5344CB8AC3E}">
        <p14:creationId xmlns:p14="http://schemas.microsoft.com/office/powerpoint/2010/main" val="413598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</p:sldLayoutIdLst>
  <p:hf hdr="0" ftr="0" dt="0"/>
  <p:txStyles>
    <p:titleStyle>
      <a:lvl1pPr marL="0" algn="l" defTabSz="457147" rtl="0" eaLnBrk="1" latinLnBrk="0" hangingPunct="1">
        <a:spcBef>
          <a:spcPct val="0"/>
        </a:spcBef>
        <a:buNone/>
        <a:defRPr lang="de-DE" sz="3199" kern="1200" dirty="0">
          <a:solidFill>
            <a:schemeClr val="tx1"/>
          </a:solidFill>
          <a:latin typeface="Open Sans Light"/>
          <a:ea typeface="+mj-ea"/>
          <a:cs typeface="Open Sans Light"/>
        </a:defRPr>
      </a:lvl1pPr>
    </p:titleStyle>
    <p:bodyStyle>
      <a:lvl1pPr marL="0" indent="0" algn="l" defTabSz="457086" rtl="0" eaLnBrk="1" latinLnBrk="0" hangingPunct="1">
        <a:lnSpc>
          <a:spcPct val="140000"/>
        </a:lnSpc>
        <a:spcBef>
          <a:spcPts val="512"/>
        </a:spcBef>
        <a:spcAft>
          <a:spcPts val="0"/>
        </a:spcAft>
        <a:buFont typeface="Arial"/>
        <a:buNone/>
        <a:defRPr lang="de-DE" sz="1400" b="1" kern="1600" baseline="0" dirty="0" smtClean="0">
          <a:solidFill>
            <a:schemeClr val="tx1"/>
          </a:solidFill>
          <a:latin typeface="Open Sans"/>
          <a:ea typeface="+mn-ea"/>
          <a:cs typeface="Open Sans"/>
        </a:defRPr>
      </a:lvl1pPr>
      <a:lvl2pPr marL="0" indent="0" algn="l" defTabSz="457147" rtl="0" eaLnBrk="1" latinLnBrk="0" hangingPunct="1">
        <a:lnSpc>
          <a:spcPct val="140000"/>
        </a:lnSpc>
        <a:spcBef>
          <a:spcPts val="512"/>
        </a:spcBef>
        <a:spcAft>
          <a:spcPts val="0"/>
        </a:spcAft>
        <a:buFont typeface="Arial"/>
        <a:buNone/>
        <a:defRPr lang="de-DE" sz="1400" kern="1600" baseline="0" dirty="0" smtClean="0">
          <a:solidFill>
            <a:srgbClr val="3C3C3B"/>
          </a:solidFill>
          <a:latin typeface="Open Sans"/>
          <a:ea typeface="+mn-ea"/>
          <a:cs typeface="Open Sans"/>
        </a:defRPr>
      </a:lvl2pPr>
      <a:lvl3pPr marL="237007" indent="-237007" algn="l" defTabSz="45714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"/>
        <a:defRPr lang="de-DE" sz="1400" kern="1600" baseline="0" dirty="0" smtClean="0">
          <a:solidFill>
            <a:srgbClr val="3C3C3B"/>
          </a:solidFill>
          <a:latin typeface="Open Sans"/>
          <a:ea typeface="+mn-ea"/>
          <a:cs typeface="Open Sans"/>
        </a:defRPr>
      </a:lvl3pPr>
      <a:lvl4pPr marL="482479" indent="-245472" algn="l" defTabSz="45708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1"/>
        </a:buClr>
        <a:buFont typeface="Open Sans" panose="020B0606030504020204" pitchFamily="34" charset="0"/>
        <a:buChar char="−"/>
        <a:defRPr lang="de-DE" sz="1400" kern="1600" baseline="0" dirty="0" smtClean="0">
          <a:solidFill>
            <a:srgbClr val="3C3C3B"/>
          </a:solidFill>
          <a:latin typeface="Open Sans"/>
          <a:ea typeface="+mn-ea"/>
          <a:cs typeface="Open Sans"/>
        </a:defRPr>
      </a:lvl4pPr>
      <a:lvl5pPr marL="719487" indent="-237007" algn="l" defTabSz="45708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lang="de-DE" sz="1400" kern="1600" baseline="0" dirty="0">
          <a:solidFill>
            <a:srgbClr val="3C3C3B"/>
          </a:solidFill>
          <a:latin typeface="Open Sans"/>
          <a:ea typeface="+mn-ea"/>
          <a:cs typeface="Open Sans"/>
        </a:defRPr>
      </a:lvl5pPr>
      <a:lvl6pPr marL="2513970" indent="-228543" algn="l" defTabSz="4570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4570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4570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4570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4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svg"/><Relationship Id="rId11" Type="http://schemas.openxmlformats.org/officeDocument/2006/relationships/image" Target="../media/image7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image" Target="../media/image7.pn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chart" Target="../charts/chart1.xml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5.jpg"/><Relationship Id="rId5" Type="http://schemas.openxmlformats.org/officeDocument/2006/relationships/image" Target="../media/image34.jp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oncz Gábor</a:t>
            </a:r>
            <a:r>
              <a:rPr lang="hu-HU" dirty="0"/>
              <a:t>| Zalaegerszeg | 2020.09.25.</a:t>
            </a:r>
          </a:p>
        </p:txBody>
      </p:sp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Jövőkép: cél az emberi jól-lét</a:t>
            </a:r>
            <a:br>
              <a:rPr lang="hu-HU" dirty="0"/>
            </a:br>
            <a:r>
              <a:rPr lang="hu-HU" sz="3600" dirty="0"/>
              <a:t>Innovatív megoldások Magyarországról</a:t>
            </a:r>
            <a:br>
              <a:rPr lang="en-US" sz="3600" dirty="0"/>
            </a:br>
            <a:r>
              <a:rPr lang="hu-HU" sz="3600" dirty="0"/>
              <a:t>a világnak</a:t>
            </a:r>
            <a:endParaRPr lang="hu-H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extBox 84">
            <a:extLst>
              <a:ext uri="{FF2B5EF4-FFF2-40B4-BE49-F238E27FC236}">
                <a16:creationId xmlns:a16="http://schemas.microsoft.com/office/drawing/2014/main" id="{E5352A69-DB5D-42C9-BCC4-0E610BE136DE}"/>
              </a:ext>
            </a:extLst>
          </p:cNvPr>
          <p:cNvSpPr txBox="1"/>
          <p:nvPr/>
        </p:nvSpPr>
        <p:spPr>
          <a:xfrm>
            <a:off x="10582949" y="5890471"/>
            <a:ext cx="151645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00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A piacvezető </a:t>
            </a:r>
            <a:r>
              <a:rPr kumimoji="0" lang="hu-H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ArchiFM létesítmény</a:t>
            </a:r>
            <a:r>
              <a:rPr lang="hu-HU" sz="100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 technológiai cég megvásárlása</a:t>
            </a:r>
            <a:endParaRPr kumimoji="0" lang="hu-H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Calibri"/>
            </a:endParaRPr>
          </a:p>
        </p:txBody>
      </p:sp>
      <p:pic>
        <p:nvPicPr>
          <p:cNvPr id="68" name="Bild 7" descr="Tungsram-T-emblem.png">
            <a:extLst>
              <a:ext uri="{FF2B5EF4-FFF2-40B4-BE49-F238E27FC236}">
                <a16:creationId xmlns:a16="http://schemas.microsoft.com/office/drawing/2014/main" id="{DD4ED75D-0916-4E0B-8A1D-09FA6C10DB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4281" y="217485"/>
            <a:ext cx="290932" cy="288000"/>
          </a:xfrm>
          <a:prstGeom prst="rect">
            <a:avLst/>
          </a:prstGeom>
        </p:spPr>
      </p:pic>
      <p:sp>
        <p:nvSpPr>
          <p:cNvPr id="66" name="Szövegdoboz 14">
            <a:extLst>
              <a:ext uri="{FF2B5EF4-FFF2-40B4-BE49-F238E27FC236}">
                <a16:creationId xmlns:a16="http://schemas.microsoft.com/office/drawing/2014/main" id="{C4411BF9-0B03-494B-A8B0-9106633F5171}"/>
              </a:ext>
            </a:extLst>
          </p:cNvPr>
          <p:cNvSpPr txBox="1"/>
          <p:nvPr/>
        </p:nvSpPr>
        <p:spPr>
          <a:xfrm>
            <a:off x="604870" y="217485"/>
            <a:ext cx="10819521" cy="512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>
                <a:solidFill>
                  <a:prstClr val="black"/>
                </a:solidFill>
                <a:latin typeface="Open Sans Light"/>
                <a:cs typeface="Open Sans Light"/>
                <a:sym typeface="Calibri"/>
              </a:rPr>
              <a:t>Múltunk</a:t>
            </a:r>
            <a:endParaRPr lang="en-US" sz="3200" dirty="0">
              <a:solidFill>
                <a:prstClr val="black"/>
              </a:solidFill>
              <a:latin typeface="Open Sans Light"/>
              <a:cs typeface="Open Sans Light"/>
              <a:sym typeface="Calibri"/>
            </a:endParaRPr>
          </a:p>
        </p:txBody>
      </p:sp>
      <p:sp>
        <p:nvSpPr>
          <p:cNvPr id="76" name="Rechteck 12">
            <a:extLst>
              <a:ext uri="{FF2B5EF4-FFF2-40B4-BE49-F238E27FC236}">
                <a16:creationId xmlns:a16="http://schemas.microsoft.com/office/drawing/2014/main" id="{FE055708-E825-45BA-A436-B7C1ED4B5C0F}"/>
              </a:ext>
            </a:extLst>
          </p:cNvPr>
          <p:cNvSpPr/>
          <p:nvPr/>
        </p:nvSpPr>
        <p:spPr>
          <a:xfrm>
            <a:off x="0" y="0"/>
            <a:ext cx="289514" cy="6858000"/>
          </a:xfrm>
          <a:prstGeom prst="rect">
            <a:avLst/>
          </a:prstGeom>
          <a:solidFill>
            <a:srgbClr val="143A83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  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1139A8C9-BD75-4D88-8155-6D7F3419D9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74" b="20217"/>
          <a:stretch/>
        </p:blipFill>
        <p:spPr>
          <a:xfrm>
            <a:off x="289514" y="1600953"/>
            <a:ext cx="11902486" cy="2771516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42640335-BD1E-4937-BAC3-C2EAE272C66A}"/>
              </a:ext>
            </a:extLst>
          </p:cNvPr>
          <p:cNvSpPr txBox="1"/>
          <p:nvPr/>
        </p:nvSpPr>
        <p:spPr>
          <a:xfrm>
            <a:off x="684054" y="4700583"/>
            <a:ext cx="1460627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Egyesül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Izzólámp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 és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Villamosság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 Rt.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Calibri"/>
              </a:rPr>
              <a:t>megalapítás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Calibri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36A359F-2973-4A70-9148-EE1E1FFBB8A2}"/>
              </a:ext>
            </a:extLst>
          </p:cNvPr>
          <p:cNvSpPr txBox="1"/>
          <p:nvPr/>
        </p:nvSpPr>
        <p:spPr>
          <a:xfrm>
            <a:off x="2083721" y="5890471"/>
            <a:ext cx="146062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hu-HU" sz="1000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ungsram márka létrejött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E31DA68-768F-4D04-BAAF-3FC9379CE403}"/>
              </a:ext>
            </a:extLst>
          </p:cNvPr>
          <p:cNvSpPr txBox="1"/>
          <p:nvPr/>
        </p:nvSpPr>
        <p:spPr>
          <a:xfrm>
            <a:off x="3357507" y="4700583"/>
            <a:ext cx="1662937" cy="8617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hu-HU" sz="1000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schner Lipót megalapítja a világhírű kutató laboratóriumot, és a márkát világpiaci szereplővé emeli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1775B5A-07C2-4C07-9E16-1116FD8B59BC}"/>
              </a:ext>
            </a:extLst>
          </p:cNvPr>
          <p:cNvSpPr txBox="1"/>
          <p:nvPr/>
        </p:nvSpPr>
        <p:spPr>
          <a:xfrm>
            <a:off x="4845886" y="5890471"/>
            <a:ext cx="1460627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hu-HU" sz="1000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ródy Imre, a Tungsram kutatója kifejleszti a kripton lámpát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C38C872-C86A-4D27-A987-7E7086C602B5}"/>
              </a:ext>
            </a:extLst>
          </p:cNvPr>
          <p:cNvSpPr txBox="1"/>
          <p:nvPr/>
        </p:nvSpPr>
        <p:spPr>
          <a:xfrm>
            <a:off x="6306513" y="4700583"/>
            <a:ext cx="1698302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hu-HU" sz="1000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ay Zoltán a Tungsram kutatási vezetője felfedezi a radartechnológiá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D280507-C310-4941-A545-F0D4DAE11A29}"/>
              </a:ext>
            </a:extLst>
          </p:cNvPr>
          <p:cNvSpPr txBox="1"/>
          <p:nvPr/>
        </p:nvSpPr>
        <p:spPr>
          <a:xfrm>
            <a:off x="7758785" y="5890471"/>
            <a:ext cx="151645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hu-HU" sz="1000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 GE megvásárolja először a Tungsram többségi részvényeit, majd 100 százaléká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BA124D0-9E96-4509-971A-38E7662440FB}"/>
              </a:ext>
            </a:extLst>
          </p:cNvPr>
          <p:cNvSpPr txBox="1"/>
          <p:nvPr/>
        </p:nvSpPr>
        <p:spPr>
          <a:xfrm>
            <a:off x="9155774" y="4700583"/>
            <a:ext cx="151645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hu-HU" sz="1000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ungsram Csoport megalakulás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AE542D-5683-41BD-99B5-BECE3906C8A7}"/>
              </a:ext>
            </a:extLst>
          </p:cNvPr>
          <p:cNvCxnSpPr>
            <a:cxnSpLocks/>
          </p:cNvCxnSpPr>
          <p:nvPr/>
        </p:nvCxnSpPr>
        <p:spPr>
          <a:xfrm>
            <a:off x="1445258" y="3609973"/>
            <a:ext cx="0" cy="1019304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5618B97-6909-42D3-B493-6817ECD8482F}"/>
              </a:ext>
            </a:extLst>
          </p:cNvPr>
          <p:cNvCxnSpPr>
            <a:cxnSpLocks/>
          </p:cNvCxnSpPr>
          <p:nvPr/>
        </p:nvCxnSpPr>
        <p:spPr>
          <a:xfrm>
            <a:off x="4245608" y="3596179"/>
            <a:ext cx="0" cy="1019304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6ED1B84-7A0A-4558-B473-4293720675E8}"/>
              </a:ext>
            </a:extLst>
          </p:cNvPr>
          <p:cNvCxnSpPr>
            <a:cxnSpLocks/>
          </p:cNvCxnSpPr>
          <p:nvPr/>
        </p:nvCxnSpPr>
        <p:spPr>
          <a:xfrm>
            <a:off x="7148519" y="3609973"/>
            <a:ext cx="0" cy="1019304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C4B912A-265E-494B-A2DC-7CB06E393FDC}"/>
              </a:ext>
            </a:extLst>
          </p:cNvPr>
          <p:cNvCxnSpPr>
            <a:cxnSpLocks/>
          </p:cNvCxnSpPr>
          <p:nvPr/>
        </p:nvCxnSpPr>
        <p:spPr>
          <a:xfrm>
            <a:off x="9956013" y="3609973"/>
            <a:ext cx="0" cy="1019304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52CAE9DC-39BF-4D0B-B349-555F28174DC1}"/>
              </a:ext>
            </a:extLst>
          </p:cNvPr>
          <p:cNvCxnSpPr>
            <a:cxnSpLocks/>
          </p:cNvCxnSpPr>
          <p:nvPr/>
        </p:nvCxnSpPr>
        <p:spPr>
          <a:xfrm>
            <a:off x="2864483" y="3609973"/>
            <a:ext cx="0" cy="2232000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E88B23A-FD6B-40A1-BF42-E89057E0D7AD}"/>
              </a:ext>
            </a:extLst>
          </p:cNvPr>
          <p:cNvCxnSpPr>
            <a:cxnSpLocks/>
          </p:cNvCxnSpPr>
          <p:nvPr/>
        </p:nvCxnSpPr>
        <p:spPr>
          <a:xfrm>
            <a:off x="5626733" y="3596179"/>
            <a:ext cx="0" cy="2232000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1693161-BBFA-44E0-9792-E6C2B32D4829}"/>
              </a:ext>
            </a:extLst>
          </p:cNvPr>
          <p:cNvCxnSpPr>
            <a:cxnSpLocks/>
          </p:cNvCxnSpPr>
          <p:nvPr/>
        </p:nvCxnSpPr>
        <p:spPr>
          <a:xfrm>
            <a:off x="8531301" y="3605210"/>
            <a:ext cx="0" cy="2232000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EDF2FFD-2298-45E2-84E5-F923BDC150C6}"/>
              </a:ext>
            </a:extLst>
          </p:cNvPr>
          <p:cNvCxnSpPr>
            <a:cxnSpLocks/>
          </p:cNvCxnSpPr>
          <p:nvPr/>
        </p:nvCxnSpPr>
        <p:spPr>
          <a:xfrm>
            <a:off x="11341176" y="3609973"/>
            <a:ext cx="0" cy="2232000"/>
          </a:xfrm>
          <a:prstGeom prst="line">
            <a:avLst/>
          </a:prstGeom>
          <a:ln w="19050">
            <a:solidFill>
              <a:srgbClr val="4A6A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83629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zövegdoboz 14">
            <a:extLst>
              <a:ext uri="{FF2B5EF4-FFF2-40B4-BE49-F238E27FC236}">
                <a16:creationId xmlns:a16="http://schemas.microsoft.com/office/drawing/2014/main" id="{563F120B-9304-473F-A082-A7587D2E139E}"/>
              </a:ext>
            </a:extLst>
          </p:cNvPr>
          <p:cNvSpPr txBox="1"/>
          <p:nvPr/>
        </p:nvSpPr>
        <p:spPr>
          <a:xfrm>
            <a:off x="604870" y="217485"/>
            <a:ext cx="108195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spcBef>
                <a:spcPct val="0"/>
              </a:spcBef>
              <a:defRPr/>
            </a:pPr>
            <a:r>
              <a:rPr lang="hu-HU" sz="3200" dirty="0">
                <a:solidFill>
                  <a:prstClr val="black"/>
                </a:solidFill>
                <a:latin typeface="Open Sans Light"/>
                <a:cs typeface="Open Sans Light"/>
              </a:rPr>
              <a:t>A Tungsram 120 éves múltra tekint vissza, egyedülálló eszközökkel és képességekkel rendelkezik</a:t>
            </a:r>
          </a:p>
        </p:txBody>
      </p:sp>
      <p:sp>
        <p:nvSpPr>
          <p:cNvPr id="4" name="Rechteck 3"/>
          <p:cNvSpPr/>
          <p:nvPr/>
        </p:nvSpPr>
        <p:spPr>
          <a:xfrm>
            <a:off x="1588" y="0"/>
            <a:ext cx="288000" cy="6858000"/>
          </a:xfrm>
          <a:prstGeom prst="rect">
            <a:avLst/>
          </a:prstGeom>
          <a:solidFill>
            <a:srgbClr val="11287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hu-HU">
                <a:solidFill>
                  <a:prstClr val="white"/>
                </a:solidFill>
                <a:latin typeface="Calibri" panose="020F0502020204030204"/>
              </a:rPr>
              <a:t> 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EFD7729-DBD9-4E81-B2AF-54002C462171}"/>
              </a:ext>
            </a:extLst>
          </p:cNvPr>
          <p:cNvCxnSpPr>
            <a:cxnSpLocks/>
          </p:cNvCxnSpPr>
          <p:nvPr/>
        </p:nvCxnSpPr>
        <p:spPr>
          <a:xfrm>
            <a:off x="547394" y="4887714"/>
            <a:ext cx="11304000" cy="0"/>
          </a:xfrm>
          <a:prstGeom prst="line">
            <a:avLst/>
          </a:prstGeom>
          <a:ln w="19050">
            <a:solidFill>
              <a:srgbClr val="11287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03A812F-39BC-4405-BD71-1D010B3FC59A}"/>
              </a:ext>
            </a:extLst>
          </p:cNvPr>
          <p:cNvSpPr txBox="1">
            <a:spLocks/>
          </p:cNvSpPr>
          <p:nvPr/>
        </p:nvSpPr>
        <p:spPr>
          <a:xfrm>
            <a:off x="691552" y="2347288"/>
            <a:ext cx="2189314" cy="8649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68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5508" b="1">
                <a:solidFill>
                  <a:srgbClr val="005EB8"/>
                </a:solidFill>
                <a:latin typeface="Open Sans"/>
              </a:rPr>
              <a:t>189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21017C-5D85-4626-9738-F366B98C70F9}"/>
              </a:ext>
            </a:extLst>
          </p:cNvPr>
          <p:cNvSpPr txBox="1">
            <a:spLocks/>
          </p:cNvSpPr>
          <p:nvPr/>
        </p:nvSpPr>
        <p:spPr>
          <a:xfrm>
            <a:off x="500228" y="1717717"/>
            <a:ext cx="2571960" cy="5023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algn="ctr" defTabSz="895078">
              <a:buClr>
                <a:srgbClr val="FFFFFF"/>
              </a:buClr>
              <a:defRPr/>
            </a:pPr>
            <a:r>
              <a:rPr lang="hu-HU" sz="1632">
                <a:solidFill>
                  <a:srgbClr val="F0F0F0">
                    <a:lumMod val="10000"/>
                  </a:srgbClr>
                </a:solidFill>
                <a:latin typeface="Open Sans"/>
              </a:rPr>
              <a:t>Több mint 120 éves megbízható működé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39616F-4015-4465-894D-8C896DDD60D9}"/>
              </a:ext>
            </a:extLst>
          </p:cNvPr>
          <p:cNvSpPr txBox="1">
            <a:spLocks/>
          </p:cNvSpPr>
          <p:nvPr/>
        </p:nvSpPr>
        <p:spPr>
          <a:xfrm>
            <a:off x="527936" y="3322204"/>
            <a:ext cx="2571960" cy="5023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algn="ctr" defTabSz="895078">
              <a:buClr>
                <a:srgbClr val="FFFFFF"/>
              </a:buClr>
              <a:defRPr/>
            </a:pPr>
            <a:r>
              <a:rPr lang="hu-HU" sz="1632">
                <a:solidFill>
                  <a:srgbClr val="F0F0F0">
                    <a:lumMod val="10000"/>
                  </a:srgbClr>
                </a:solidFill>
                <a:latin typeface="Open Sans"/>
              </a:rPr>
              <a:t>Világszínvonalú innovációs örökség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82D9088-5DE4-481F-A7FE-4F33EDA318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2953" y="3951778"/>
            <a:ext cx="481929" cy="73042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D7E18D-8EE2-49FE-BA83-953C141BA173}"/>
              </a:ext>
            </a:extLst>
          </p:cNvPr>
          <p:cNvCxnSpPr>
            <a:cxnSpLocks/>
          </p:cNvCxnSpPr>
          <p:nvPr/>
        </p:nvCxnSpPr>
        <p:spPr>
          <a:xfrm>
            <a:off x="530696" y="3262124"/>
            <a:ext cx="2664000" cy="0"/>
          </a:xfrm>
          <a:prstGeom prst="line">
            <a:avLst/>
          </a:prstGeom>
          <a:ln w="19050">
            <a:solidFill>
              <a:srgbClr val="11287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CE589E-1022-48D4-96ED-9DA0DD474102}"/>
              </a:ext>
            </a:extLst>
          </p:cNvPr>
          <p:cNvCxnSpPr>
            <a:cxnSpLocks/>
          </p:cNvCxnSpPr>
          <p:nvPr/>
        </p:nvCxnSpPr>
        <p:spPr>
          <a:xfrm>
            <a:off x="6326352" y="1490863"/>
            <a:ext cx="18102" cy="3321428"/>
          </a:xfrm>
          <a:prstGeom prst="line">
            <a:avLst/>
          </a:prstGeom>
          <a:ln w="19050">
            <a:solidFill>
              <a:srgbClr val="11287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23E1313-0AE0-47EC-B912-870EDA4A451C}"/>
              </a:ext>
            </a:extLst>
          </p:cNvPr>
          <p:cNvCxnSpPr>
            <a:cxnSpLocks/>
          </p:cNvCxnSpPr>
          <p:nvPr/>
        </p:nvCxnSpPr>
        <p:spPr>
          <a:xfrm>
            <a:off x="3341377" y="1490863"/>
            <a:ext cx="0" cy="3321428"/>
          </a:xfrm>
          <a:prstGeom prst="line">
            <a:avLst/>
          </a:prstGeom>
          <a:ln w="19050">
            <a:solidFill>
              <a:srgbClr val="11287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0">
            <a:extLst>
              <a:ext uri="{FF2B5EF4-FFF2-40B4-BE49-F238E27FC236}">
                <a16:creationId xmlns:a16="http://schemas.microsoft.com/office/drawing/2014/main" id="{98B2D129-4ABC-4D86-9EF7-B7C7C464B6D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391292" y="3854408"/>
            <a:ext cx="2723502" cy="9931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hu-HU"/>
            </a:defPPr>
            <a:lvl1pPr lvl="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6600">
                <a:solidFill>
                  <a:schemeClr val="accent2"/>
                </a:solidFill>
              </a:defRPr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3268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632">
                <a:solidFill>
                  <a:srgbClr val="F0F0F0">
                    <a:lumMod val="10000"/>
                  </a:srgbClr>
                </a:solidFill>
                <a:latin typeface="Open Sans"/>
              </a:rPr>
              <a:t>Bevált értékesítési hálózat </a:t>
            </a:r>
            <a:r>
              <a:rPr lang="hu-HU" sz="2856" b="1">
                <a:solidFill>
                  <a:srgbClr val="005EB8"/>
                </a:solidFill>
                <a:latin typeface="Open Sans"/>
              </a:rPr>
              <a:t>100+</a:t>
            </a:r>
            <a:r>
              <a:rPr lang="hu-HU" sz="2856" b="1">
                <a:solidFill>
                  <a:srgbClr val="00ADEF"/>
                </a:solidFill>
                <a:latin typeface="Open Sans"/>
              </a:rPr>
              <a:t> </a:t>
            </a:r>
            <a:r>
              <a:rPr lang="hu-HU" sz="1632">
                <a:solidFill>
                  <a:srgbClr val="F0F0F0">
                    <a:lumMod val="10000"/>
                  </a:srgbClr>
                </a:solidFill>
                <a:latin typeface="Open Sans"/>
              </a:rPr>
              <a:t>országban:</a:t>
            </a:r>
          </a:p>
          <a:p>
            <a:pPr defTabSz="93268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799" b="1">
                <a:solidFill>
                  <a:srgbClr val="005EB8"/>
                </a:solidFill>
                <a:latin typeface="Open Sans"/>
              </a:rPr>
              <a:t>95+% </a:t>
            </a:r>
            <a:r>
              <a:rPr lang="hu-HU" sz="1632">
                <a:solidFill>
                  <a:srgbClr val="F0F0F0">
                    <a:lumMod val="10000"/>
                  </a:srgbClr>
                </a:solidFill>
                <a:latin typeface="Open Sans"/>
              </a:rPr>
              <a:t>expor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E21CDA-202A-40B2-B926-D760208A7F7D}"/>
              </a:ext>
            </a:extLst>
          </p:cNvPr>
          <p:cNvSpPr txBox="1">
            <a:spLocks/>
          </p:cNvSpPr>
          <p:nvPr/>
        </p:nvSpPr>
        <p:spPr>
          <a:xfrm>
            <a:off x="6391292" y="1681886"/>
            <a:ext cx="2723502" cy="6906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2600" b="1">
                <a:solidFill>
                  <a:schemeClr val="accent2"/>
                </a:solidFill>
                <a:latin typeface="Georgia Pro Cond Light" panose="02040306050405020303" pitchFamily="18" charset="0"/>
              </a:defRPr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32682">
              <a:spcAft>
                <a:spcPts val="204"/>
              </a:spcAft>
              <a:buClr>
                <a:srgbClr val="FFFFFF"/>
              </a:buClr>
              <a:defRPr/>
            </a:pPr>
            <a:r>
              <a:rPr lang="en-US" sz="2856" dirty="0">
                <a:solidFill>
                  <a:srgbClr val="005EB8"/>
                </a:solidFill>
                <a:latin typeface="Open Sans"/>
              </a:rPr>
              <a:t>35</a:t>
            </a:r>
            <a:r>
              <a:rPr lang="hu-HU" sz="2856" dirty="0">
                <a:solidFill>
                  <a:srgbClr val="005EB8"/>
                </a:solidFill>
                <a:latin typeface="Open Sans"/>
              </a:rPr>
              <a:t>00+ </a:t>
            </a:r>
            <a:r>
              <a:rPr lang="hu-HU" sz="1632" b="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munkavállaló itthon és világszer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7EB6BB9-B4A1-4C4A-AD2B-7C62264327F1}"/>
              </a:ext>
            </a:extLst>
          </p:cNvPr>
          <p:cNvGrpSpPr/>
          <p:nvPr/>
        </p:nvGrpSpPr>
        <p:grpSpPr>
          <a:xfrm>
            <a:off x="7155143" y="2200841"/>
            <a:ext cx="1195799" cy="1567170"/>
            <a:chOff x="9314555" y="2162313"/>
            <a:chExt cx="1172299" cy="153637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FCB3218-2773-4C81-99D3-360CC7C8505A}"/>
                </a:ext>
              </a:extLst>
            </p:cNvPr>
            <p:cNvSpPr/>
            <p:nvPr/>
          </p:nvSpPr>
          <p:spPr>
            <a:xfrm>
              <a:off x="9455772" y="2398516"/>
              <a:ext cx="889864" cy="85825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5EB8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31" name="Block Arc 30">
              <a:extLst>
                <a:ext uri="{FF2B5EF4-FFF2-40B4-BE49-F238E27FC236}">
                  <a16:creationId xmlns:a16="http://schemas.microsoft.com/office/drawing/2014/main" id="{428A0D32-8DD6-47D2-87CD-7AE3196FB09D}"/>
                </a:ext>
              </a:extLst>
            </p:cNvPr>
            <p:cNvSpPr/>
            <p:nvPr/>
          </p:nvSpPr>
          <p:spPr>
            <a:xfrm rot="10800000">
              <a:off x="9314555" y="2162313"/>
              <a:ext cx="1172299" cy="1231803"/>
            </a:xfrm>
            <a:prstGeom prst="blockArc">
              <a:avLst>
                <a:gd name="adj1" fmla="val 10985996"/>
                <a:gd name="adj2" fmla="val 41834"/>
                <a:gd name="adj3" fmla="val 2161"/>
              </a:avLst>
            </a:prstGeom>
            <a:solidFill>
              <a:srgbClr val="2F5597"/>
            </a:solidFill>
            <a:ln w="3175">
              <a:solidFill>
                <a:srgbClr val="2F559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C128F90-3B46-460B-90EF-1356B113F8C2}"/>
                </a:ext>
              </a:extLst>
            </p:cNvPr>
            <p:cNvCxnSpPr>
              <a:cxnSpLocks/>
            </p:cNvCxnSpPr>
            <p:nvPr/>
          </p:nvCxnSpPr>
          <p:spPr>
            <a:xfrm>
              <a:off x="9900704" y="3392741"/>
              <a:ext cx="0" cy="305944"/>
            </a:xfrm>
            <a:prstGeom prst="line">
              <a:avLst/>
            </a:prstGeom>
            <a:ln w="38100">
              <a:solidFill>
                <a:srgbClr val="2F559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Freeform 53">
              <a:extLst>
                <a:ext uri="{FF2B5EF4-FFF2-40B4-BE49-F238E27FC236}">
                  <a16:creationId xmlns:a16="http://schemas.microsoft.com/office/drawing/2014/main" id="{F0A52BBD-119F-45A5-9B6D-7FD2E6F8139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9868312" y="2671474"/>
              <a:ext cx="317056" cy="223540"/>
            </a:xfrm>
            <a:custGeom>
              <a:avLst/>
              <a:gdLst>
                <a:gd name="T0" fmla="*/ 2147483647 w 8766"/>
                <a:gd name="T1" fmla="*/ 2147483647 h 6192"/>
                <a:gd name="T2" fmla="*/ 2147483647 w 8766"/>
                <a:gd name="T3" fmla="*/ 2147483647 h 6192"/>
                <a:gd name="T4" fmla="*/ 2147483647 w 8766"/>
                <a:gd name="T5" fmla="*/ 2147483647 h 6192"/>
                <a:gd name="T6" fmla="*/ 2147483647 w 8766"/>
                <a:gd name="T7" fmla="*/ 2147483647 h 6192"/>
                <a:gd name="T8" fmla="*/ 2147483647 w 8766"/>
                <a:gd name="T9" fmla="*/ 2147483647 h 6192"/>
                <a:gd name="T10" fmla="*/ 2147483647 w 8766"/>
                <a:gd name="T11" fmla="*/ 2147483647 h 6192"/>
                <a:gd name="T12" fmla="*/ 2147483647 w 8766"/>
                <a:gd name="T13" fmla="*/ 2147483647 h 6192"/>
                <a:gd name="T14" fmla="*/ 2147483647 w 8766"/>
                <a:gd name="T15" fmla="*/ 2147483647 h 6192"/>
                <a:gd name="T16" fmla="*/ 2147483647 w 8766"/>
                <a:gd name="T17" fmla="*/ 2147483647 h 6192"/>
                <a:gd name="T18" fmla="*/ 2147483647 w 8766"/>
                <a:gd name="T19" fmla="*/ 2147483647 h 6192"/>
                <a:gd name="T20" fmla="*/ 2147483647 w 8766"/>
                <a:gd name="T21" fmla="*/ 2147483647 h 6192"/>
                <a:gd name="T22" fmla="*/ 2147483647 w 8766"/>
                <a:gd name="T23" fmla="*/ 2147483647 h 6192"/>
                <a:gd name="T24" fmla="*/ 2147483647 w 8766"/>
                <a:gd name="T25" fmla="*/ 2147483647 h 6192"/>
                <a:gd name="T26" fmla="*/ 2147483647 w 8766"/>
                <a:gd name="T27" fmla="*/ 2147483647 h 6192"/>
                <a:gd name="T28" fmla="*/ 2147483647 w 8766"/>
                <a:gd name="T29" fmla="*/ 2147483647 h 6192"/>
                <a:gd name="T30" fmla="*/ 2147483647 w 8766"/>
                <a:gd name="T31" fmla="*/ 2147483647 h 6192"/>
                <a:gd name="T32" fmla="*/ 2147483647 w 8766"/>
                <a:gd name="T33" fmla="*/ 2147483647 h 6192"/>
                <a:gd name="T34" fmla="*/ 2147483647 w 8766"/>
                <a:gd name="T35" fmla="*/ 2147483647 h 6192"/>
                <a:gd name="T36" fmla="*/ 2147483647 w 8766"/>
                <a:gd name="T37" fmla="*/ 2147483647 h 6192"/>
                <a:gd name="T38" fmla="*/ 2147483647 w 8766"/>
                <a:gd name="T39" fmla="*/ 2147483647 h 6192"/>
                <a:gd name="T40" fmla="*/ 2147483647 w 8766"/>
                <a:gd name="T41" fmla="*/ 2147483647 h 6192"/>
                <a:gd name="T42" fmla="*/ 2147483647 w 8766"/>
                <a:gd name="T43" fmla="*/ 2147483647 h 6192"/>
                <a:gd name="T44" fmla="*/ 2147483647 w 8766"/>
                <a:gd name="T45" fmla="*/ 2147483647 h 6192"/>
                <a:gd name="T46" fmla="*/ 2147483647 w 8766"/>
                <a:gd name="T47" fmla="*/ 2147483647 h 6192"/>
                <a:gd name="T48" fmla="*/ 2147483647 w 8766"/>
                <a:gd name="T49" fmla="*/ 2147483647 h 6192"/>
                <a:gd name="T50" fmla="*/ 2147483647 w 8766"/>
                <a:gd name="T51" fmla="*/ 2147483647 h 6192"/>
                <a:gd name="T52" fmla="*/ 2147483647 w 8766"/>
                <a:gd name="T53" fmla="*/ 2147483647 h 6192"/>
                <a:gd name="T54" fmla="*/ 2147483647 w 8766"/>
                <a:gd name="T55" fmla="*/ 2147483647 h 6192"/>
                <a:gd name="T56" fmla="*/ 2147483647 w 8766"/>
                <a:gd name="T57" fmla="*/ 2147483647 h 6192"/>
                <a:gd name="T58" fmla="*/ 2147483647 w 8766"/>
                <a:gd name="T59" fmla="*/ 2147483647 h 6192"/>
                <a:gd name="T60" fmla="*/ 2147483647 w 8766"/>
                <a:gd name="T61" fmla="*/ 2147483647 h 6192"/>
                <a:gd name="T62" fmla="*/ 2147483647 w 8766"/>
                <a:gd name="T63" fmla="*/ 2147483647 h 6192"/>
                <a:gd name="T64" fmla="*/ 2147483647 w 8766"/>
                <a:gd name="T65" fmla="*/ 2147483647 h 6192"/>
                <a:gd name="T66" fmla="*/ 2147483647 w 8766"/>
                <a:gd name="T67" fmla="*/ 2147483647 h 6192"/>
                <a:gd name="T68" fmla="*/ 2147483647 w 8766"/>
                <a:gd name="T69" fmla="*/ 2147483647 h 6192"/>
                <a:gd name="T70" fmla="*/ 2147483647 w 8766"/>
                <a:gd name="T71" fmla="*/ 2147483647 h 6192"/>
                <a:gd name="T72" fmla="*/ 2147483647 w 8766"/>
                <a:gd name="T73" fmla="*/ 2147483647 h 6192"/>
                <a:gd name="T74" fmla="*/ 2147483647 w 8766"/>
                <a:gd name="T75" fmla="*/ 2147483647 h 6192"/>
                <a:gd name="T76" fmla="*/ 2147483647 w 8766"/>
                <a:gd name="T77" fmla="*/ 2147483647 h 6192"/>
                <a:gd name="T78" fmla="*/ 2147483647 w 8766"/>
                <a:gd name="T79" fmla="*/ 2147483647 h 6192"/>
                <a:gd name="T80" fmla="*/ 2147483647 w 8766"/>
                <a:gd name="T81" fmla="*/ 2147483647 h 6192"/>
                <a:gd name="T82" fmla="*/ 2147483647 w 8766"/>
                <a:gd name="T83" fmla="*/ 2147483647 h 6192"/>
                <a:gd name="T84" fmla="*/ 2147483647 w 8766"/>
                <a:gd name="T85" fmla="*/ 2147483647 h 6192"/>
                <a:gd name="T86" fmla="*/ 2147483647 w 8766"/>
                <a:gd name="T87" fmla="*/ 2147483647 h 6192"/>
                <a:gd name="T88" fmla="*/ 2147483647 w 8766"/>
                <a:gd name="T89" fmla="*/ 2147483647 h 6192"/>
                <a:gd name="T90" fmla="*/ 2147483647 w 8766"/>
                <a:gd name="T91" fmla="*/ 2147483647 h 6192"/>
                <a:gd name="T92" fmla="*/ 2147483647 w 8766"/>
                <a:gd name="T93" fmla="*/ 2147483647 h 6192"/>
                <a:gd name="T94" fmla="*/ 2147483647 w 8766"/>
                <a:gd name="T95" fmla="*/ 2147483647 h 6192"/>
                <a:gd name="T96" fmla="*/ 2147483647 w 8766"/>
                <a:gd name="T97" fmla="*/ 2147483647 h 6192"/>
                <a:gd name="T98" fmla="*/ 2147483647 w 8766"/>
                <a:gd name="T99" fmla="*/ 2147483647 h 6192"/>
                <a:gd name="T100" fmla="*/ 2147483647 w 8766"/>
                <a:gd name="T101" fmla="*/ 2147483647 h 6192"/>
                <a:gd name="T102" fmla="*/ 2147483647 w 8766"/>
                <a:gd name="T103" fmla="*/ 2147483647 h 6192"/>
                <a:gd name="T104" fmla="*/ 2147483647 w 8766"/>
                <a:gd name="T105" fmla="*/ 2147483647 h 6192"/>
                <a:gd name="T106" fmla="*/ 2147483647 w 8766"/>
                <a:gd name="T107" fmla="*/ 2147483647 h 6192"/>
                <a:gd name="T108" fmla="*/ 2147483647 w 8766"/>
                <a:gd name="T109" fmla="*/ 2147483647 h 6192"/>
                <a:gd name="T110" fmla="*/ 2147483647 w 8766"/>
                <a:gd name="T111" fmla="*/ 2147483647 h 6192"/>
                <a:gd name="T112" fmla="*/ 2147483647 w 8766"/>
                <a:gd name="T113" fmla="*/ 2147483647 h 6192"/>
                <a:gd name="T114" fmla="*/ 2147483647 w 8766"/>
                <a:gd name="T115" fmla="*/ 2147483647 h 6192"/>
                <a:gd name="T116" fmla="*/ 2147483647 w 8766"/>
                <a:gd name="T117" fmla="*/ 2147483647 h 6192"/>
                <a:gd name="T118" fmla="*/ 2147483647 w 8766"/>
                <a:gd name="T119" fmla="*/ 2147483647 h 6192"/>
                <a:gd name="T120" fmla="*/ 2147483647 w 8766"/>
                <a:gd name="T121" fmla="*/ 2147483647 h 6192"/>
                <a:gd name="T122" fmla="*/ 2147483647 w 8766"/>
                <a:gd name="T123" fmla="*/ 2147483647 h 61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8766" h="6192">
                  <a:moveTo>
                    <a:pt x="7608" y="246"/>
                  </a:moveTo>
                  <a:lnTo>
                    <a:pt x="7614" y="246"/>
                  </a:lnTo>
                  <a:lnTo>
                    <a:pt x="7620" y="246"/>
                  </a:lnTo>
                  <a:lnTo>
                    <a:pt x="7614" y="240"/>
                  </a:lnTo>
                  <a:lnTo>
                    <a:pt x="7614" y="234"/>
                  </a:lnTo>
                  <a:lnTo>
                    <a:pt x="7614" y="222"/>
                  </a:lnTo>
                  <a:lnTo>
                    <a:pt x="7620" y="222"/>
                  </a:lnTo>
                  <a:lnTo>
                    <a:pt x="7620" y="216"/>
                  </a:lnTo>
                  <a:lnTo>
                    <a:pt x="7632" y="210"/>
                  </a:lnTo>
                  <a:lnTo>
                    <a:pt x="7638" y="204"/>
                  </a:lnTo>
                  <a:lnTo>
                    <a:pt x="7650" y="204"/>
                  </a:lnTo>
                  <a:lnTo>
                    <a:pt x="7662" y="174"/>
                  </a:lnTo>
                  <a:lnTo>
                    <a:pt x="7674" y="168"/>
                  </a:lnTo>
                  <a:lnTo>
                    <a:pt x="7680" y="162"/>
                  </a:lnTo>
                  <a:lnTo>
                    <a:pt x="7692" y="156"/>
                  </a:lnTo>
                  <a:lnTo>
                    <a:pt x="7704" y="144"/>
                  </a:lnTo>
                  <a:lnTo>
                    <a:pt x="7722" y="144"/>
                  </a:lnTo>
                  <a:lnTo>
                    <a:pt x="7740" y="150"/>
                  </a:lnTo>
                  <a:lnTo>
                    <a:pt x="7794" y="150"/>
                  </a:lnTo>
                  <a:lnTo>
                    <a:pt x="7794" y="156"/>
                  </a:lnTo>
                  <a:lnTo>
                    <a:pt x="7794" y="168"/>
                  </a:lnTo>
                  <a:lnTo>
                    <a:pt x="7788" y="180"/>
                  </a:lnTo>
                  <a:lnTo>
                    <a:pt x="7770" y="192"/>
                  </a:lnTo>
                  <a:lnTo>
                    <a:pt x="7764" y="204"/>
                  </a:lnTo>
                  <a:lnTo>
                    <a:pt x="7782" y="216"/>
                  </a:lnTo>
                  <a:lnTo>
                    <a:pt x="7794" y="234"/>
                  </a:lnTo>
                  <a:lnTo>
                    <a:pt x="7800" y="240"/>
                  </a:lnTo>
                  <a:lnTo>
                    <a:pt x="7806" y="246"/>
                  </a:lnTo>
                  <a:lnTo>
                    <a:pt x="7800" y="252"/>
                  </a:lnTo>
                  <a:lnTo>
                    <a:pt x="7818" y="258"/>
                  </a:lnTo>
                  <a:lnTo>
                    <a:pt x="7830" y="252"/>
                  </a:lnTo>
                  <a:lnTo>
                    <a:pt x="7848" y="246"/>
                  </a:lnTo>
                  <a:lnTo>
                    <a:pt x="7866" y="240"/>
                  </a:lnTo>
                  <a:lnTo>
                    <a:pt x="7872" y="240"/>
                  </a:lnTo>
                  <a:lnTo>
                    <a:pt x="7878" y="312"/>
                  </a:lnTo>
                  <a:lnTo>
                    <a:pt x="7884" y="318"/>
                  </a:lnTo>
                  <a:lnTo>
                    <a:pt x="7884" y="324"/>
                  </a:lnTo>
                  <a:lnTo>
                    <a:pt x="7908" y="342"/>
                  </a:lnTo>
                  <a:lnTo>
                    <a:pt x="7914" y="348"/>
                  </a:lnTo>
                  <a:lnTo>
                    <a:pt x="7920" y="378"/>
                  </a:lnTo>
                  <a:lnTo>
                    <a:pt x="7926" y="390"/>
                  </a:lnTo>
                  <a:lnTo>
                    <a:pt x="7938" y="402"/>
                  </a:lnTo>
                  <a:lnTo>
                    <a:pt x="7950" y="414"/>
                  </a:lnTo>
                  <a:lnTo>
                    <a:pt x="7962" y="420"/>
                  </a:lnTo>
                  <a:lnTo>
                    <a:pt x="7974" y="450"/>
                  </a:lnTo>
                  <a:lnTo>
                    <a:pt x="7986" y="462"/>
                  </a:lnTo>
                  <a:lnTo>
                    <a:pt x="7998" y="462"/>
                  </a:lnTo>
                  <a:lnTo>
                    <a:pt x="8010" y="438"/>
                  </a:lnTo>
                  <a:lnTo>
                    <a:pt x="8022" y="432"/>
                  </a:lnTo>
                  <a:lnTo>
                    <a:pt x="8058" y="438"/>
                  </a:lnTo>
                  <a:lnTo>
                    <a:pt x="8064" y="432"/>
                  </a:lnTo>
                  <a:lnTo>
                    <a:pt x="8076" y="432"/>
                  </a:lnTo>
                  <a:lnTo>
                    <a:pt x="8094" y="438"/>
                  </a:lnTo>
                  <a:lnTo>
                    <a:pt x="8106" y="426"/>
                  </a:lnTo>
                  <a:lnTo>
                    <a:pt x="8124" y="414"/>
                  </a:lnTo>
                  <a:lnTo>
                    <a:pt x="8136" y="408"/>
                  </a:lnTo>
                  <a:lnTo>
                    <a:pt x="8148" y="414"/>
                  </a:lnTo>
                  <a:lnTo>
                    <a:pt x="8148" y="426"/>
                  </a:lnTo>
                  <a:lnTo>
                    <a:pt x="8148" y="432"/>
                  </a:lnTo>
                  <a:lnTo>
                    <a:pt x="8166" y="432"/>
                  </a:lnTo>
                  <a:lnTo>
                    <a:pt x="8172" y="444"/>
                  </a:lnTo>
                  <a:lnTo>
                    <a:pt x="8172" y="456"/>
                  </a:lnTo>
                  <a:lnTo>
                    <a:pt x="8190" y="480"/>
                  </a:lnTo>
                  <a:lnTo>
                    <a:pt x="8208" y="480"/>
                  </a:lnTo>
                  <a:lnTo>
                    <a:pt x="8214" y="486"/>
                  </a:lnTo>
                  <a:lnTo>
                    <a:pt x="8232" y="498"/>
                  </a:lnTo>
                  <a:lnTo>
                    <a:pt x="8250" y="504"/>
                  </a:lnTo>
                  <a:lnTo>
                    <a:pt x="8262" y="498"/>
                  </a:lnTo>
                  <a:lnTo>
                    <a:pt x="8268" y="510"/>
                  </a:lnTo>
                  <a:lnTo>
                    <a:pt x="8250" y="528"/>
                  </a:lnTo>
                  <a:lnTo>
                    <a:pt x="8256" y="540"/>
                  </a:lnTo>
                  <a:lnTo>
                    <a:pt x="8274" y="564"/>
                  </a:lnTo>
                  <a:lnTo>
                    <a:pt x="8280" y="576"/>
                  </a:lnTo>
                  <a:lnTo>
                    <a:pt x="8286" y="576"/>
                  </a:lnTo>
                  <a:lnTo>
                    <a:pt x="8292" y="582"/>
                  </a:lnTo>
                  <a:lnTo>
                    <a:pt x="8304" y="594"/>
                  </a:lnTo>
                  <a:lnTo>
                    <a:pt x="8304" y="606"/>
                  </a:lnTo>
                  <a:lnTo>
                    <a:pt x="8304" y="618"/>
                  </a:lnTo>
                  <a:lnTo>
                    <a:pt x="8310" y="630"/>
                  </a:lnTo>
                  <a:lnTo>
                    <a:pt x="8310" y="642"/>
                  </a:lnTo>
                  <a:lnTo>
                    <a:pt x="8316" y="654"/>
                  </a:lnTo>
                  <a:lnTo>
                    <a:pt x="8316" y="666"/>
                  </a:lnTo>
                  <a:lnTo>
                    <a:pt x="8316" y="672"/>
                  </a:lnTo>
                  <a:lnTo>
                    <a:pt x="8322" y="672"/>
                  </a:lnTo>
                  <a:lnTo>
                    <a:pt x="8340" y="702"/>
                  </a:lnTo>
                  <a:lnTo>
                    <a:pt x="8346" y="702"/>
                  </a:lnTo>
                  <a:lnTo>
                    <a:pt x="8352" y="696"/>
                  </a:lnTo>
                  <a:lnTo>
                    <a:pt x="8346" y="678"/>
                  </a:lnTo>
                  <a:lnTo>
                    <a:pt x="8358" y="678"/>
                  </a:lnTo>
                  <a:lnTo>
                    <a:pt x="8370" y="684"/>
                  </a:lnTo>
                  <a:lnTo>
                    <a:pt x="8388" y="690"/>
                  </a:lnTo>
                  <a:lnTo>
                    <a:pt x="8424" y="690"/>
                  </a:lnTo>
                  <a:lnTo>
                    <a:pt x="8436" y="684"/>
                  </a:lnTo>
                  <a:lnTo>
                    <a:pt x="8442" y="666"/>
                  </a:lnTo>
                  <a:lnTo>
                    <a:pt x="8454" y="660"/>
                  </a:lnTo>
                  <a:lnTo>
                    <a:pt x="8466" y="642"/>
                  </a:lnTo>
                  <a:lnTo>
                    <a:pt x="8478" y="636"/>
                  </a:lnTo>
                  <a:lnTo>
                    <a:pt x="8484" y="624"/>
                  </a:lnTo>
                  <a:lnTo>
                    <a:pt x="8496" y="630"/>
                  </a:lnTo>
                  <a:lnTo>
                    <a:pt x="8508" y="618"/>
                  </a:lnTo>
                  <a:lnTo>
                    <a:pt x="8514" y="618"/>
                  </a:lnTo>
                  <a:lnTo>
                    <a:pt x="8526" y="618"/>
                  </a:lnTo>
                  <a:lnTo>
                    <a:pt x="8532" y="630"/>
                  </a:lnTo>
                  <a:lnTo>
                    <a:pt x="8544" y="630"/>
                  </a:lnTo>
                  <a:lnTo>
                    <a:pt x="8550" y="618"/>
                  </a:lnTo>
                  <a:lnTo>
                    <a:pt x="8550" y="612"/>
                  </a:lnTo>
                  <a:lnTo>
                    <a:pt x="8562" y="606"/>
                  </a:lnTo>
                  <a:lnTo>
                    <a:pt x="8586" y="606"/>
                  </a:lnTo>
                  <a:lnTo>
                    <a:pt x="8592" y="612"/>
                  </a:lnTo>
                  <a:lnTo>
                    <a:pt x="8586" y="624"/>
                  </a:lnTo>
                  <a:lnTo>
                    <a:pt x="8592" y="630"/>
                  </a:lnTo>
                  <a:lnTo>
                    <a:pt x="8598" y="630"/>
                  </a:lnTo>
                  <a:lnTo>
                    <a:pt x="8598" y="612"/>
                  </a:lnTo>
                  <a:lnTo>
                    <a:pt x="8604" y="606"/>
                  </a:lnTo>
                  <a:lnTo>
                    <a:pt x="8616" y="606"/>
                  </a:lnTo>
                  <a:lnTo>
                    <a:pt x="8622" y="612"/>
                  </a:lnTo>
                  <a:lnTo>
                    <a:pt x="8628" y="624"/>
                  </a:lnTo>
                  <a:lnTo>
                    <a:pt x="8628" y="630"/>
                  </a:lnTo>
                  <a:lnTo>
                    <a:pt x="8634" y="642"/>
                  </a:lnTo>
                  <a:lnTo>
                    <a:pt x="8634" y="648"/>
                  </a:lnTo>
                  <a:lnTo>
                    <a:pt x="8646" y="666"/>
                  </a:lnTo>
                  <a:lnTo>
                    <a:pt x="8652" y="672"/>
                  </a:lnTo>
                  <a:lnTo>
                    <a:pt x="8664" y="672"/>
                  </a:lnTo>
                  <a:lnTo>
                    <a:pt x="8670" y="672"/>
                  </a:lnTo>
                  <a:lnTo>
                    <a:pt x="8694" y="714"/>
                  </a:lnTo>
                  <a:lnTo>
                    <a:pt x="8694" y="720"/>
                  </a:lnTo>
                  <a:lnTo>
                    <a:pt x="8706" y="726"/>
                  </a:lnTo>
                  <a:lnTo>
                    <a:pt x="8718" y="732"/>
                  </a:lnTo>
                  <a:lnTo>
                    <a:pt x="8718" y="750"/>
                  </a:lnTo>
                  <a:lnTo>
                    <a:pt x="8718" y="762"/>
                  </a:lnTo>
                  <a:lnTo>
                    <a:pt x="8718" y="774"/>
                  </a:lnTo>
                  <a:lnTo>
                    <a:pt x="8700" y="786"/>
                  </a:lnTo>
                  <a:lnTo>
                    <a:pt x="8706" y="798"/>
                  </a:lnTo>
                  <a:lnTo>
                    <a:pt x="8736" y="816"/>
                  </a:lnTo>
                  <a:lnTo>
                    <a:pt x="8688" y="828"/>
                  </a:lnTo>
                  <a:lnTo>
                    <a:pt x="8682" y="840"/>
                  </a:lnTo>
                  <a:lnTo>
                    <a:pt x="8688" y="852"/>
                  </a:lnTo>
                  <a:lnTo>
                    <a:pt x="8694" y="858"/>
                  </a:lnTo>
                  <a:lnTo>
                    <a:pt x="8712" y="864"/>
                  </a:lnTo>
                  <a:lnTo>
                    <a:pt x="8718" y="870"/>
                  </a:lnTo>
                  <a:lnTo>
                    <a:pt x="8730" y="876"/>
                  </a:lnTo>
                  <a:lnTo>
                    <a:pt x="8736" y="882"/>
                  </a:lnTo>
                  <a:lnTo>
                    <a:pt x="8748" y="882"/>
                  </a:lnTo>
                  <a:lnTo>
                    <a:pt x="8754" y="888"/>
                  </a:lnTo>
                  <a:lnTo>
                    <a:pt x="8766" y="894"/>
                  </a:lnTo>
                  <a:lnTo>
                    <a:pt x="8760" y="900"/>
                  </a:lnTo>
                  <a:lnTo>
                    <a:pt x="8760" y="906"/>
                  </a:lnTo>
                  <a:lnTo>
                    <a:pt x="8754" y="912"/>
                  </a:lnTo>
                  <a:lnTo>
                    <a:pt x="8742" y="918"/>
                  </a:lnTo>
                  <a:lnTo>
                    <a:pt x="8748" y="924"/>
                  </a:lnTo>
                  <a:lnTo>
                    <a:pt x="8736" y="930"/>
                  </a:lnTo>
                  <a:lnTo>
                    <a:pt x="8736" y="948"/>
                  </a:lnTo>
                  <a:lnTo>
                    <a:pt x="8730" y="948"/>
                  </a:lnTo>
                  <a:lnTo>
                    <a:pt x="8730" y="960"/>
                  </a:lnTo>
                  <a:lnTo>
                    <a:pt x="8724" y="966"/>
                  </a:lnTo>
                  <a:lnTo>
                    <a:pt x="8724" y="978"/>
                  </a:lnTo>
                  <a:lnTo>
                    <a:pt x="8718" y="984"/>
                  </a:lnTo>
                  <a:lnTo>
                    <a:pt x="8718" y="990"/>
                  </a:lnTo>
                  <a:lnTo>
                    <a:pt x="8718" y="996"/>
                  </a:lnTo>
                  <a:lnTo>
                    <a:pt x="8712" y="1002"/>
                  </a:lnTo>
                  <a:lnTo>
                    <a:pt x="8712" y="1008"/>
                  </a:lnTo>
                  <a:lnTo>
                    <a:pt x="8706" y="1008"/>
                  </a:lnTo>
                  <a:lnTo>
                    <a:pt x="8700" y="1008"/>
                  </a:lnTo>
                  <a:lnTo>
                    <a:pt x="8688" y="1008"/>
                  </a:lnTo>
                  <a:lnTo>
                    <a:pt x="8682" y="1014"/>
                  </a:lnTo>
                  <a:lnTo>
                    <a:pt x="8676" y="1020"/>
                  </a:lnTo>
                  <a:lnTo>
                    <a:pt x="8664" y="1032"/>
                  </a:lnTo>
                  <a:lnTo>
                    <a:pt x="8664" y="1038"/>
                  </a:lnTo>
                  <a:lnTo>
                    <a:pt x="8658" y="1038"/>
                  </a:lnTo>
                  <a:lnTo>
                    <a:pt x="8652" y="1044"/>
                  </a:lnTo>
                  <a:lnTo>
                    <a:pt x="8652" y="1050"/>
                  </a:lnTo>
                  <a:lnTo>
                    <a:pt x="8646" y="1050"/>
                  </a:lnTo>
                  <a:lnTo>
                    <a:pt x="8646" y="1056"/>
                  </a:lnTo>
                  <a:lnTo>
                    <a:pt x="8640" y="1056"/>
                  </a:lnTo>
                  <a:lnTo>
                    <a:pt x="8634" y="1050"/>
                  </a:lnTo>
                  <a:lnTo>
                    <a:pt x="8628" y="1050"/>
                  </a:lnTo>
                  <a:lnTo>
                    <a:pt x="8622" y="1056"/>
                  </a:lnTo>
                  <a:lnTo>
                    <a:pt x="8616" y="1056"/>
                  </a:lnTo>
                  <a:lnTo>
                    <a:pt x="8604" y="1050"/>
                  </a:lnTo>
                  <a:lnTo>
                    <a:pt x="8604" y="1056"/>
                  </a:lnTo>
                  <a:lnTo>
                    <a:pt x="8598" y="1056"/>
                  </a:lnTo>
                  <a:lnTo>
                    <a:pt x="8592" y="1068"/>
                  </a:lnTo>
                  <a:lnTo>
                    <a:pt x="8604" y="1068"/>
                  </a:lnTo>
                  <a:lnTo>
                    <a:pt x="8604" y="1074"/>
                  </a:lnTo>
                  <a:lnTo>
                    <a:pt x="8610" y="1074"/>
                  </a:lnTo>
                  <a:lnTo>
                    <a:pt x="8616" y="1080"/>
                  </a:lnTo>
                  <a:lnTo>
                    <a:pt x="8616" y="1086"/>
                  </a:lnTo>
                  <a:lnTo>
                    <a:pt x="8610" y="1098"/>
                  </a:lnTo>
                  <a:lnTo>
                    <a:pt x="8610" y="1110"/>
                  </a:lnTo>
                  <a:lnTo>
                    <a:pt x="8622" y="1110"/>
                  </a:lnTo>
                  <a:lnTo>
                    <a:pt x="8628" y="1110"/>
                  </a:lnTo>
                  <a:lnTo>
                    <a:pt x="8628" y="1116"/>
                  </a:lnTo>
                  <a:lnTo>
                    <a:pt x="8628" y="1122"/>
                  </a:lnTo>
                  <a:lnTo>
                    <a:pt x="8634" y="1128"/>
                  </a:lnTo>
                  <a:lnTo>
                    <a:pt x="8640" y="1140"/>
                  </a:lnTo>
                  <a:lnTo>
                    <a:pt x="8640" y="1146"/>
                  </a:lnTo>
                  <a:lnTo>
                    <a:pt x="8640" y="1152"/>
                  </a:lnTo>
                  <a:lnTo>
                    <a:pt x="8628" y="1152"/>
                  </a:lnTo>
                  <a:lnTo>
                    <a:pt x="8622" y="1164"/>
                  </a:lnTo>
                  <a:lnTo>
                    <a:pt x="8616" y="1170"/>
                  </a:lnTo>
                  <a:lnTo>
                    <a:pt x="8604" y="1176"/>
                  </a:lnTo>
                  <a:lnTo>
                    <a:pt x="8592" y="1176"/>
                  </a:lnTo>
                  <a:lnTo>
                    <a:pt x="8574" y="1176"/>
                  </a:lnTo>
                  <a:lnTo>
                    <a:pt x="8568" y="1176"/>
                  </a:lnTo>
                  <a:lnTo>
                    <a:pt x="8562" y="1176"/>
                  </a:lnTo>
                  <a:lnTo>
                    <a:pt x="8556" y="1182"/>
                  </a:lnTo>
                  <a:lnTo>
                    <a:pt x="8556" y="1188"/>
                  </a:lnTo>
                  <a:lnTo>
                    <a:pt x="8562" y="1194"/>
                  </a:lnTo>
                  <a:lnTo>
                    <a:pt x="8562" y="1200"/>
                  </a:lnTo>
                  <a:lnTo>
                    <a:pt x="8556" y="1200"/>
                  </a:lnTo>
                  <a:lnTo>
                    <a:pt x="8556" y="1206"/>
                  </a:lnTo>
                  <a:lnTo>
                    <a:pt x="8550" y="1212"/>
                  </a:lnTo>
                  <a:lnTo>
                    <a:pt x="8550" y="1218"/>
                  </a:lnTo>
                  <a:lnTo>
                    <a:pt x="8550" y="1224"/>
                  </a:lnTo>
                  <a:lnTo>
                    <a:pt x="8544" y="1236"/>
                  </a:lnTo>
                  <a:lnTo>
                    <a:pt x="8544" y="1242"/>
                  </a:lnTo>
                  <a:lnTo>
                    <a:pt x="8538" y="1266"/>
                  </a:lnTo>
                  <a:lnTo>
                    <a:pt x="8538" y="1272"/>
                  </a:lnTo>
                  <a:lnTo>
                    <a:pt x="8532" y="1284"/>
                  </a:lnTo>
                  <a:lnTo>
                    <a:pt x="8520" y="1284"/>
                  </a:lnTo>
                  <a:lnTo>
                    <a:pt x="8514" y="1284"/>
                  </a:lnTo>
                  <a:lnTo>
                    <a:pt x="8514" y="1290"/>
                  </a:lnTo>
                  <a:lnTo>
                    <a:pt x="8508" y="1296"/>
                  </a:lnTo>
                  <a:lnTo>
                    <a:pt x="8502" y="1302"/>
                  </a:lnTo>
                  <a:lnTo>
                    <a:pt x="8490" y="1308"/>
                  </a:lnTo>
                  <a:lnTo>
                    <a:pt x="8478" y="1308"/>
                  </a:lnTo>
                  <a:lnTo>
                    <a:pt x="8472" y="1308"/>
                  </a:lnTo>
                  <a:lnTo>
                    <a:pt x="8466" y="1320"/>
                  </a:lnTo>
                  <a:lnTo>
                    <a:pt x="8454" y="1320"/>
                  </a:lnTo>
                  <a:lnTo>
                    <a:pt x="8448" y="1320"/>
                  </a:lnTo>
                  <a:lnTo>
                    <a:pt x="8448" y="1326"/>
                  </a:lnTo>
                  <a:lnTo>
                    <a:pt x="8424" y="1332"/>
                  </a:lnTo>
                  <a:lnTo>
                    <a:pt x="8364" y="1344"/>
                  </a:lnTo>
                  <a:lnTo>
                    <a:pt x="8346" y="1326"/>
                  </a:lnTo>
                  <a:lnTo>
                    <a:pt x="8328" y="1314"/>
                  </a:lnTo>
                  <a:lnTo>
                    <a:pt x="8316" y="1308"/>
                  </a:lnTo>
                  <a:lnTo>
                    <a:pt x="8298" y="1296"/>
                  </a:lnTo>
                  <a:lnTo>
                    <a:pt x="8286" y="1296"/>
                  </a:lnTo>
                  <a:lnTo>
                    <a:pt x="8280" y="1290"/>
                  </a:lnTo>
                  <a:lnTo>
                    <a:pt x="8268" y="1284"/>
                  </a:lnTo>
                  <a:lnTo>
                    <a:pt x="8262" y="1284"/>
                  </a:lnTo>
                  <a:lnTo>
                    <a:pt x="8256" y="1290"/>
                  </a:lnTo>
                  <a:lnTo>
                    <a:pt x="8244" y="1302"/>
                  </a:lnTo>
                  <a:lnTo>
                    <a:pt x="8226" y="1308"/>
                  </a:lnTo>
                  <a:lnTo>
                    <a:pt x="8220" y="1308"/>
                  </a:lnTo>
                  <a:lnTo>
                    <a:pt x="8214" y="1326"/>
                  </a:lnTo>
                  <a:lnTo>
                    <a:pt x="8214" y="1338"/>
                  </a:lnTo>
                  <a:lnTo>
                    <a:pt x="8214" y="1344"/>
                  </a:lnTo>
                  <a:lnTo>
                    <a:pt x="8214" y="1368"/>
                  </a:lnTo>
                  <a:lnTo>
                    <a:pt x="8214" y="1386"/>
                  </a:lnTo>
                  <a:lnTo>
                    <a:pt x="8214" y="1392"/>
                  </a:lnTo>
                  <a:lnTo>
                    <a:pt x="8214" y="1398"/>
                  </a:lnTo>
                  <a:lnTo>
                    <a:pt x="8208" y="1410"/>
                  </a:lnTo>
                  <a:lnTo>
                    <a:pt x="8214" y="1416"/>
                  </a:lnTo>
                  <a:lnTo>
                    <a:pt x="8214" y="1422"/>
                  </a:lnTo>
                  <a:lnTo>
                    <a:pt x="8220" y="1422"/>
                  </a:lnTo>
                  <a:lnTo>
                    <a:pt x="8220" y="1428"/>
                  </a:lnTo>
                  <a:lnTo>
                    <a:pt x="8202" y="1434"/>
                  </a:lnTo>
                  <a:lnTo>
                    <a:pt x="8196" y="1434"/>
                  </a:lnTo>
                  <a:lnTo>
                    <a:pt x="8190" y="1428"/>
                  </a:lnTo>
                  <a:lnTo>
                    <a:pt x="8178" y="1422"/>
                  </a:lnTo>
                  <a:lnTo>
                    <a:pt x="8172" y="1428"/>
                  </a:lnTo>
                  <a:lnTo>
                    <a:pt x="8160" y="1434"/>
                  </a:lnTo>
                  <a:lnTo>
                    <a:pt x="8154" y="1428"/>
                  </a:lnTo>
                  <a:lnTo>
                    <a:pt x="8142" y="1434"/>
                  </a:lnTo>
                  <a:lnTo>
                    <a:pt x="8130" y="1434"/>
                  </a:lnTo>
                  <a:lnTo>
                    <a:pt x="8112" y="1428"/>
                  </a:lnTo>
                  <a:lnTo>
                    <a:pt x="8106" y="1422"/>
                  </a:lnTo>
                  <a:lnTo>
                    <a:pt x="8094" y="1416"/>
                  </a:lnTo>
                  <a:lnTo>
                    <a:pt x="8088" y="1410"/>
                  </a:lnTo>
                  <a:lnTo>
                    <a:pt x="8082" y="1404"/>
                  </a:lnTo>
                  <a:lnTo>
                    <a:pt x="8070" y="1404"/>
                  </a:lnTo>
                  <a:lnTo>
                    <a:pt x="8064" y="1410"/>
                  </a:lnTo>
                  <a:lnTo>
                    <a:pt x="8064" y="1422"/>
                  </a:lnTo>
                  <a:lnTo>
                    <a:pt x="8070" y="1434"/>
                  </a:lnTo>
                  <a:lnTo>
                    <a:pt x="8070" y="1440"/>
                  </a:lnTo>
                  <a:lnTo>
                    <a:pt x="8070" y="1452"/>
                  </a:lnTo>
                  <a:lnTo>
                    <a:pt x="8064" y="1458"/>
                  </a:lnTo>
                  <a:lnTo>
                    <a:pt x="8058" y="1458"/>
                  </a:lnTo>
                  <a:lnTo>
                    <a:pt x="8058" y="1464"/>
                  </a:lnTo>
                  <a:lnTo>
                    <a:pt x="8052" y="1470"/>
                  </a:lnTo>
                  <a:lnTo>
                    <a:pt x="8040" y="1482"/>
                  </a:lnTo>
                  <a:lnTo>
                    <a:pt x="8034" y="1488"/>
                  </a:lnTo>
                  <a:lnTo>
                    <a:pt x="8022" y="1488"/>
                  </a:lnTo>
                  <a:lnTo>
                    <a:pt x="8004" y="1488"/>
                  </a:lnTo>
                  <a:lnTo>
                    <a:pt x="8004" y="1500"/>
                  </a:lnTo>
                  <a:lnTo>
                    <a:pt x="8004" y="1512"/>
                  </a:lnTo>
                  <a:lnTo>
                    <a:pt x="8004" y="1518"/>
                  </a:lnTo>
                  <a:lnTo>
                    <a:pt x="8010" y="1518"/>
                  </a:lnTo>
                  <a:lnTo>
                    <a:pt x="8010" y="1548"/>
                  </a:lnTo>
                  <a:lnTo>
                    <a:pt x="8010" y="1554"/>
                  </a:lnTo>
                  <a:lnTo>
                    <a:pt x="8004" y="1560"/>
                  </a:lnTo>
                  <a:lnTo>
                    <a:pt x="7992" y="1566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8" y="1590"/>
                  </a:lnTo>
                  <a:lnTo>
                    <a:pt x="7968" y="1602"/>
                  </a:lnTo>
                  <a:lnTo>
                    <a:pt x="7968" y="1614"/>
                  </a:lnTo>
                  <a:lnTo>
                    <a:pt x="7974" y="1620"/>
                  </a:lnTo>
                  <a:lnTo>
                    <a:pt x="7968" y="1632"/>
                  </a:lnTo>
                  <a:lnTo>
                    <a:pt x="7968" y="1638"/>
                  </a:lnTo>
                  <a:lnTo>
                    <a:pt x="7962" y="1644"/>
                  </a:lnTo>
                  <a:lnTo>
                    <a:pt x="7962" y="1650"/>
                  </a:lnTo>
                  <a:lnTo>
                    <a:pt x="7956" y="1656"/>
                  </a:lnTo>
                  <a:lnTo>
                    <a:pt x="7944" y="1656"/>
                  </a:lnTo>
                  <a:lnTo>
                    <a:pt x="7950" y="1674"/>
                  </a:lnTo>
                  <a:lnTo>
                    <a:pt x="7950" y="1686"/>
                  </a:lnTo>
                  <a:lnTo>
                    <a:pt x="7944" y="1704"/>
                  </a:lnTo>
                  <a:lnTo>
                    <a:pt x="7944" y="1716"/>
                  </a:lnTo>
                  <a:lnTo>
                    <a:pt x="7944" y="1722"/>
                  </a:lnTo>
                  <a:lnTo>
                    <a:pt x="7944" y="1734"/>
                  </a:lnTo>
                  <a:lnTo>
                    <a:pt x="7944" y="1740"/>
                  </a:lnTo>
                  <a:lnTo>
                    <a:pt x="7944" y="1746"/>
                  </a:lnTo>
                  <a:lnTo>
                    <a:pt x="7938" y="1752"/>
                  </a:lnTo>
                  <a:lnTo>
                    <a:pt x="7938" y="1764"/>
                  </a:lnTo>
                  <a:lnTo>
                    <a:pt x="7932" y="1764"/>
                  </a:lnTo>
                  <a:lnTo>
                    <a:pt x="7932" y="1782"/>
                  </a:lnTo>
                  <a:lnTo>
                    <a:pt x="7914" y="1782"/>
                  </a:lnTo>
                  <a:lnTo>
                    <a:pt x="7896" y="1782"/>
                  </a:lnTo>
                  <a:lnTo>
                    <a:pt x="7890" y="1782"/>
                  </a:lnTo>
                  <a:lnTo>
                    <a:pt x="7878" y="1776"/>
                  </a:lnTo>
                  <a:lnTo>
                    <a:pt x="7866" y="1782"/>
                  </a:lnTo>
                  <a:lnTo>
                    <a:pt x="7872" y="1788"/>
                  </a:lnTo>
                  <a:lnTo>
                    <a:pt x="7866" y="1794"/>
                  </a:lnTo>
                  <a:lnTo>
                    <a:pt x="7872" y="1800"/>
                  </a:lnTo>
                  <a:lnTo>
                    <a:pt x="7866" y="1806"/>
                  </a:lnTo>
                  <a:lnTo>
                    <a:pt x="7866" y="1812"/>
                  </a:lnTo>
                  <a:lnTo>
                    <a:pt x="7854" y="1830"/>
                  </a:lnTo>
                  <a:lnTo>
                    <a:pt x="7848" y="1830"/>
                  </a:lnTo>
                  <a:lnTo>
                    <a:pt x="7842" y="1836"/>
                  </a:lnTo>
                  <a:lnTo>
                    <a:pt x="7836" y="1860"/>
                  </a:lnTo>
                  <a:lnTo>
                    <a:pt x="7830" y="1866"/>
                  </a:lnTo>
                  <a:lnTo>
                    <a:pt x="7824" y="1860"/>
                  </a:lnTo>
                  <a:lnTo>
                    <a:pt x="7818" y="1860"/>
                  </a:lnTo>
                  <a:lnTo>
                    <a:pt x="7812" y="1866"/>
                  </a:lnTo>
                  <a:lnTo>
                    <a:pt x="7806" y="1872"/>
                  </a:lnTo>
                  <a:lnTo>
                    <a:pt x="7800" y="1878"/>
                  </a:lnTo>
                  <a:lnTo>
                    <a:pt x="7794" y="1884"/>
                  </a:lnTo>
                  <a:lnTo>
                    <a:pt x="7788" y="1896"/>
                  </a:lnTo>
                  <a:lnTo>
                    <a:pt x="7812" y="1914"/>
                  </a:lnTo>
                  <a:lnTo>
                    <a:pt x="7806" y="1920"/>
                  </a:lnTo>
                  <a:lnTo>
                    <a:pt x="7800" y="1932"/>
                  </a:lnTo>
                  <a:lnTo>
                    <a:pt x="7782" y="1914"/>
                  </a:lnTo>
                  <a:lnTo>
                    <a:pt x="7776" y="1914"/>
                  </a:lnTo>
                  <a:lnTo>
                    <a:pt x="7776" y="1920"/>
                  </a:lnTo>
                  <a:lnTo>
                    <a:pt x="7764" y="1938"/>
                  </a:lnTo>
                  <a:lnTo>
                    <a:pt x="7758" y="1950"/>
                  </a:lnTo>
                  <a:lnTo>
                    <a:pt x="7752" y="1962"/>
                  </a:lnTo>
                  <a:lnTo>
                    <a:pt x="7752" y="1986"/>
                  </a:lnTo>
                  <a:lnTo>
                    <a:pt x="7746" y="1998"/>
                  </a:lnTo>
                  <a:lnTo>
                    <a:pt x="7746" y="2010"/>
                  </a:lnTo>
                  <a:lnTo>
                    <a:pt x="7746" y="2034"/>
                  </a:lnTo>
                  <a:lnTo>
                    <a:pt x="7746" y="2046"/>
                  </a:lnTo>
                  <a:lnTo>
                    <a:pt x="7752" y="2052"/>
                  </a:lnTo>
                  <a:lnTo>
                    <a:pt x="7764" y="2070"/>
                  </a:lnTo>
                  <a:lnTo>
                    <a:pt x="7776" y="2088"/>
                  </a:lnTo>
                  <a:lnTo>
                    <a:pt x="7788" y="2088"/>
                  </a:lnTo>
                  <a:lnTo>
                    <a:pt x="7782" y="2106"/>
                  </a:lnTo>
                  <a:lnTo>
                    <a:pt x="7788" y="2112"/>
                  </a:lnTo>
                  <a:lnTo>
                    <a:pt x="7788" y="2118"/>
                  </a:lnTo>
                  <a:lnTo>
                    <a:pt x="7794" y="2118"/>
                  </a:lnTo>
                  <a:lnTo>
                    <a:pt x="7800" y="2130"/>
                  </a:lnTo>
                  <a:lnTo>
                    <a:pt x="7794" y="2136"/>
                  </a:lnTo>
                  <a:lnTo>
                    <a:pt x="7800" y="2142"/>
                  </a:lnTo>
                  <a:lnTo>
                    <a:pt x="7794" y="2148"/>
                  </a:lnTo>
                  <a:lnTo>
                    <a:pt x="7800" y="2148"/>
                  </a:lnTo>
                  <a:lnTo>
                    <a:pt x="7806" y="2160"/>
                  </a:lnTo>
                  <a:lnTo>
                    <a:pt x="7806" y="2166"/>
                  </a:lnTo>
                  <a:lnTo>
                    <a:pt x="7800" y="2190"/>
                  </a:lnTo>
                  <a:lnTo>
                    <a:pt x="7800" y="2208"/>
                  </a:lnTo>
                  <a:lnTo>
                    <a:pt x="7794" y="2220"/>
                  </a:lnTo>
                  <a:lnTo>
                    <a:pt x="7788" y="2232"/>
                  </a:lnTo>
                  <a:lnTo>
                    <a:pt x="7794" y="2238"/>
                  </a:lnTo>
                  <a:lnTo>
                    <a:pt x="7788" y="2244"/>
                  </a:lnTo>
                  <a:lnTo>
                    <a:pt x="7782" y="2238"/>
                  </a:lnTo>
                  <a:lnTo>
                    <a:pt x="7770" y="2244"/>
                  </a:lnTo>
                  <a:lnTo>
                    <a:pt x="7764" y="2238"/>
                  </a:lnTo>
                  <a:lnTo>
                    <a:pt x="7752" y="2238"/>
                  </a:lnTo>
                  <a:lnTo>
                    <a:pt x="7746" y="2238"/>
                  </a:lnTo>
                  <a:lnTo>
                    <a:pt x="7746" y="2244"/>
                  </a:lnTo>
                  <a:lnTo>
                    <a:pt x="7740" y="2244"/>
                  </a:lnTo>
                  <a:lnTo>
                    <a:pt x="7734" y="2244"/>
                  </a:lnTo>
                  <a:lnTo>
                    <a:pt x="7722" y="2244"/>
                  </a:lnTo>
                  <a:lnTo>
                    <a:pt x="7716" y="2250"/>
                  </a:lnTo>
                  <a:lnTo>
                    <a:pt x="7710" y="2256"/>
                  </a:lnTo>
                  <a:lnTo>
                    <a:pt x="7704" y="2256"/>
                  </a:lnTo>
                  <a:lnTo>
                    <a:pt x="7698" y="2256"/>
                  </a:lnTo>
                  <a:lnTo>
                    <a:pt x="7692" y="2262"/>
                  </a:lnTo>
                  <a:lnTo>
                    <a:pt x="7692" y="2268"/>
                  </a:lnTo>
                  <a:lnTo>
                    <a:pt x="7692" y="2274"/>
                  </a:lnTo>
                  <a:lnTo>
                    <a:pt x="7692" y="2280"/>
                  </a:lnTo>
                  <a:lnTo>
                    <a:pt x="7692" y="2292"/>
                  </a:lnTo>
                  <a:lnTo>
                    <a:pt x="7686" y="2298"/>
                  </a:lnTo>
                  <a:lnTo>
                    <a:pt x="7680" y="2310"/>
                  </a:lnTo>
                  <a:lnTo>
                    <a:pt x="7680" y="2322"/>
                  </a:lnTo>
                  <a:lnTo>
                    <a:pt x="7674" y="2334"/>
                  </a:lnTo>
                  <a:lnTo>
                    <a:pt x="7674" y="2346"/>
                  </a:lnTo>
                  <a:lnTo>
                    <a:pt x="7668" y="2346"/>
                  </a:lnTo>
                  <a:lnTo>
                    <a:pt x="7662" y="2358"/>
                  </a:lnTo>
                  <a:lnTo>
                    <a:pt x="7662" y="2370"/>
                  </a:lnTo>
                  <a:lnTo>
                    <a:pt x="7656" y="2376"/>
                  </a:lnTo>
                  <a:lnTo>
                    <a:pt x="7656" y="2382"/>
                  </a:lnTo>
                  <a:lnTo>
                    <a:pt x="7650" y="2382"/>
                  </a:lnTo>
                  <a:lnTo>
                    <a:pt x="7650" y="2400"/>
                  </a:lnTo>
                  <a:lnTo>
                    <a:pt x="7650" y="2406"/>
                  </a:lnTo>
                  <a:lnTo>
                    <a:pt x="7650" y="2412"/>
                  </a:lnTo>
                  <a:lnTo>
                    <a:pt x="7650" y="2424"/>
                  </a:lnTo>
                  <a:lnTo>
                    <a:pt x="7650" y="2430"/>
                  </a:lnTo>
                  <a:lnTo>
                    <a:pt x="7644" y="2430"/>
                  </a:lnTo>
                  <a:lnTo>
                    <a:pt x="7644" y="2436"/>
                  </a:lnTo>
                  <a:lnTo>
                    <a:pt x="7650" y="2436"/>
                  </a:lnTo>
                  <a:lnTo>
                    <a:pt x="7644" y="2442"/>
                  </a:lnTo>
                  <a:lnTo>
                    <a:pt x="7638" y="2448"/>
                  </a:lnTo>
                  <a:lnTo>
                    <a:pt x="7644" y="2454"/>
                  </a:lnTo>
                  <a:lnTo>
                    <a:pt x="7650" y="2460"/>
                  </a:lnTo>
                  <a:lnTo>
                    <a:pt x="7656" y="2460"/>
                  </a:lnTo>
                  <a:lnTo>
                    <a:pt x="7656" y="2466"/>
                  </a:lnTo>
                  <a:lnTo>
                    <a:pt x="7656" y="2478"/>
                  </a:lnTo>
                  <a:lnTo>
                    <a:pt x="7650" y="2490"/>
                  </a:lnTo>
                  <a:lnTo>
                    <a:pt x="7644" y="2490"/>
                  </a:lnTo>
                  <a:lnTo>
                    <a:pt x="7638" y="2502"/>
                  </a:lnTo>
                  <a:lnTo>
                    <a:pt x="7632" y="2508"/>
                  </a:lnTo>
                  <a:lnTo>
                    <a:pt x="7632" y="2514"/>
                  </a:lnTo>
                  <a:lnTo>
                    <a:pt x="7626" y="2526"/>
                  </a:lnTo>
                  <a:lnTo>
                    <a:pt x="7626" y="2538"/>
                  </a:lnTo>
                  <a:lnTo>
                    <a:pt x="7626" y="2544"/>
                  </a:lnTo>
                  <a:lnTo>
                    <a:pt x="7620" y="2550"/>
                  </a:lnTo>
                  <a:lnTo>
                    <a:pt x="7620" y="2562"/>
                  </a:lnTo>
                  <a:lnTo>
                    <a:pt x="7620" y="2568"/>
                  </a:lnTo>
                  <a:lnTo>
                    <a:pt x="7620" y="2574"/>
                  </a:lnTo>
                  <a:lnTo>
                    <a:pt x="7620" y="2580"/>
                  </a:lnTo>
                  <a:lnTo>
                    <a:pt x="7626" y="2580"/>
                  </a:lnTo>
                  <a:lnTo>
                    <a:pt x="7632" y="2580"/>
                  </a:lnTo>
                  <a:lnTo>
                    <a:pt x="7638" y="2592"/>
                  </a:lnTo>
                  <a:lnTo>
                    <a:pt x="7644" y="2616"/>
                  </a:lnTo>
                  <a:lnTo>
                    <a:pt x="7644" y="2622"/>
                  </a:lnTo>
                  <a:lnTo>
                    <a:pt x="7644" y="2634"/>
                  </a:lnTo>
                  <a:lnTo>
                    <a:pt x="7644" y="2646"/>
                  </a:lnTo>
                  <a:lnTo>
                    <a:pt x="7644" y="2652"/>
                  </a:lnTo>
                  <a:lnTo>
                    <a:pt x="7632" y="2658"/>
                  </a:lnTo>
                  <a:lnTo>
                    <a:pt x="7626" y="2664"/>
                  </a:lnTo>
                  <a:lnTo>
                    <a:pt x="7620" y="2670"/>
                  </a:lnTo>
                  <a:lnTo>
                    <a:pt x="7614" y="2670"/>
                  </a:lnTo>
                  <a:lnTo>
                    <a:pt x="7608" y="2676"/>
                  </a:lnTo>
                  <a:lnTo>
                    <a:pt x="7602" y="2682"/>
                  </a:lnTo>
                  <a:lnTo>
                    <a:pt x="7596" y="2682"/>
                  </a:lnTo>
                  <a:lnTo>
                    <a:pt x="7590" y="2700"/>
                  </a:lnTo>
                  <a:lnTo>
                    <a:pt x="7590" y="2718"/>
                  </a:lnTo>
                  <a:lnTo>
                    <a:pt x="7590" y="2730"/>
                  </a:lnTo>
                  <a:lnTo>
                    <a:pt x="7584" y="2754"/>
                  </a:lnTo>
                  <a:lnTo>
                    <a:pt x="7590" y="2760"/>
                  </a:lnTo>
                  <a:lnTo>
                    <a:pt x="7590" y="2772"/>
                  </a:lnTo>
                  <a:lnTo>
                    <a:pt x="7584" y="2772"/>
                  </a:lnTo>
                  <a:lnTo>
                    <a:pt x="7584" y="2778"/>
                  </a:lnTo>
                  <a:lnTo>
                    <a:pt x="7578" y="2778"/>
                  </a:lnTo>
                  <a:lnTo>
                    <a:pt x="7578" y="2784"/>
                  </a:lnTo>
                  <a:lnTo>
                    <a:pt x="7578" y="2790"/>
                  </a:lnTo>
                  <a:lnTo>
                    <a:pt x="7584" y="2796"/>
                  </a:lnTo>
                  <a:lnTo>
                    <a:pt x="7578" y="2802"/>
                  </a:lnTo>
                  <a:lnTo>
                    <a:pt x="7584" y="2808"/>
                  </a:lnTo>
                  <a:lnTo>
                    <a:pt x="7584" y="2814"/>
                  </a:lnTo>
                  <a:lnTo>
                    <a:pt x="7584" y="2820"/>
                  </a:lnTo>
                  <a:lnTo>
                    <a:pt x="7572" y="2820"/>
                  </a:lnTo>
                  <a:lnTo>
                    <a:pt x="7566" y="2820"/>
                  </a:lnTo>
                  <a:lnTo>
                    <a:pt x="7554" y="2820"/>
                  </a:lnTo>
                  <a:lnTo>
                    <a:pt x="7548" y="2820"/>
                  </a:lnTo>
                  <a:lnTo>
                    <a:pt x="7542" y="2826"/>
                  </a:lnTo>
                  <a:lnTo>
                    <a:pt x="7530" y="2832"/>
                  </a:lnTo>
                  <a:lnTo>
                    <a:pt x="7518" y="2838"/>
                  </a:lnTo>
                  <a:lnTo>
                    <a:pt x="7500" y="2850"/>
                  </a:lnTo>
                  <a:lnTo>
                    <a:pt x="7494" y="2856"/>
                  </a:lnTo>
                  <a:lnTo>
                    <a:pt x="7494" y="2862"/>
                  </a:lnTo>
                  <a:lnTo>
                    <a:pt x="7488" y="2868"/>
                  </a:lnTo>
                  <a:lnTo>
                    <a:pt x="7488" y="2886"/>
                  </a:lnTo>
                  <a:lnTo>
                    <a:pt x="7488" y="2892"/>
                  </a:lnTo>
                  <a:lnTo>
                    <a:pt x="7494" y="2898"/>
                  </a:lnTo>
                  <a:lnTo>
                    <a:pt x="7488" y="2904"/>
                  </a:lnTo>
                  <a:lnTo>
                    <a:pt x="7482" y="2904"/>
                  </a:lnTo>
                  <a:lnTo>
                    <a:pt x="7482" y="2910"/>
                  </a:lnTo>
                  <a:lnTo>
                    <a:pt x="7476" y="2910"/>
                  </a:lnTo>
                  <a:lnTo>
                    <a:pt x="7482" y="2922"/>
                  </a:lnTo>
                  <a:lnTo>
                    <a:pt x="7476" y="2922"/>
                  </a:lnTo>
                  <a:lnTo>
                    <a:pt x="7470" y="2928"/>
                  </a:lnTo>
                  <a:lnTo>
                    <a:pt x="7476" y="2934"/>
                  </a:lnTo>
                  <a:lnTo>
                    <a:pt x="7464" y="2940"/>
                  </a:lnTo>
                  <a:lnTo>
                    <a:pt x="7464" y="2946"/>
                  </a:lnTo>
                  <a:lnTo>
                    <a:pt x="7458" y="2952"/>
                  </a:lnTo>
                  <a:lnTo>
                    <a:pt x="7458" y="2958"/>
                  </a:lnTo>
                  <a:lnTo>
                    <a:pt x="7452" y="2964"/>
                  </a:lnTo>
                  <a:lnTo>
                    <a:pt x="7446" y="2964"/>
                  </a:lnTo>
                  <a:lnTo>
                    <a:pt x="7440" y="2970"/>
                  </a:lnTo>
                  <a:lnTo>
                    <a:pt x="7434" y="2970"/>
                  </a:lnTo>
                  <a:lnTo>
                    <a:pt x="7428" y="2976"/>
                  </a:lnTo>
                  <a:lnTo>
                    <a:pt x="7416" y="2976"/>
                  </a:lnTo>
                  <a:lnTo>
                    <a:pt x="7410" y="2982"/>
                  </a:lnTo>
                  <a:lnTo>
                    <a:pt x="7410" y="2988"/>
                  </a:lnTo>
                  <a:lnTo>
                    <a:pt x="7416" y="2994"/>
                  </a:lnTo>
                  <a:lnTo>
                    <a:pt x="7428" y="3012"/>
                  </a:lnTo>
                  <a:lnTo>
                    <a:pt x="7434" y="3018"/>
                  </a:lnTo>
                  <a:lnTo>
                    <a:pt x="7446" y="3018"/>
                  </a:lnTo>
                  <a:lnTo>
                    <a:pt x="7452" y="3018"/>
                  </a:lnTo>
                  <a:lnTo>
                    <a:pt x="7458" y="3018"/>
                  </a:lnTo>
                  <a:lnTo>
                    <a:pt x="7464" y="3024"/>
                  </a:lnTo>
                  <a:lnTo>
                    <a:pt x="7464" y="3036"/>
                  </a:lnTo>
                  <a:lnTo>
                    <a:pt x="7470" y="3042"/>
                  </a:lnTo>
                  <a:lnTo>
                    <a:pt x="7482" y="3048"/>
                  </a:lnTo>
                  <a:lnTo>
                    <a:pt x="7476" y="3054"/>
                  </a:lnTo>
                  <a:lnTo>
                    <a:pt x="7470" y="3060"/>
                  </a:lnTo>
                  <a:lnTo>
                    <a:pt x="7464" y="3060"/>
                  </a:lnTo>
                  <a:lnTo>
                    <a:pt x="7464" y="3066"/>
                  </a:lnTo>
                  <a:lnTo>
                    <a:pt x="7470" y="3072"/>
                  </a:lnTo>
                  <a:lnTo>
                    <a:pt x="7470" y="3078"/>
                  </a:lnTo>
                  <a:lnTo>
                    <a:pt x="7464" y="3090"/>
                  </a:lnTo>
                  <a:lnTo>
                    <a:pt x="7464" y="3096"/>
                  </a:lnTo>
                  <a:lnTo>
                    <a:pt x="7464" y="3102"/>
                  </a:lnTo>
                  <a:lnTo>
                    <a:pt x="7458" y="3108"/>
                  </a:lnTo>
                  <a:lnTo>
                    <a:pt x="7464" y="3114"/>
                  </a:lnTo>
                  <a:lnTo>
                    <a:pt x="7476" y="3114"/>
                  </a:lnTo>
                  <a:lnTo>
                    <a:pt x="7482" y="3120"/>
                  </a:lnTo>
                  <a:lnTo>
                    <a:pt x="7482" y="3126"/>
                  </a:lnTo>
                  <a:lnTo>
                    <a:pt x="7476" y="3132"/>
                  </a:lnTo>
                  <a:lnTo>
                    <a:pt x="7476" y="3138"/>
                  </a:lnTo>
                  <a:lnTo>
                    <a:pt x="7464" y="3144"/>
                  </a:lnTo>
                  <a:lnTo>
                    <a:pt x="7452" y="3144"/>
                  </a:lnTo>
                  <a:lnTo>
                    <a:pt x="7452" y="3150"/>
                  </a:lnTo>
                  <a:lnTo>
                    <a:pt x="7446" y="3156"/>
                  </a:lnTo>
                  <a:lnTo>
                    <a:pt x="7446" y="3168"/>
                  </a:lnTo>
                  <a:lnTo>
                    <a:pt x="7440" y="3174"/>
                  </a:lnTo>
                  <a:lnTo>
                    <a:pt x="7434" y="3180"/>
                  </a:lnTo>
                  <a:lnTo>
                    <a:pt x="7434" y="3192"/>
                  </a:lnTo>
                  <a:lnTo>
                    <a:pt x="7422" y="3192"/>
                  </a:lnTo>
                  <a:lnTo>
                    <a:pt x="7416" y="3198"/>
                  </a:lnTo>
                  <a:lnTo>
                    <a:pt x="7410" y="3198"/>
                  </a:lnTo>
                  <a:lnTo>
                    <a:pt x="7404" y="3198"/>
                  </a:lnTo>
                  <a:lnTo>
                    <a:pt x="7398" y="3198"/>
                  </a:lnTo>
                  <a:lnTo>
                    <a:pt x="7392" y="3198"/>
                  </a:lnTo>
                  <a:lnTo>
                    <a:pt x="7386" y="3204"/>
                  </a:lnTo>
                  <a:lnTo>
                    <a:pt x="7380" y="3210"/>
                  </a:lnTo>
                  <a:lnTo>
                    <a:pt x="7380" y="3222"/>
                  </a:lnTo>
                  <a:lnTo>
                    <a:pt x="7380" y="3228"/>
                  </a:lnTo>
                  <a:lnTo>
                    <a:pt x="7386" y="3240"/>
                  </a:lnTo>
                  <a:lnTo>
                    <a:pt x="7386" y="3252"/>
                  </a:lnTo>
                  <a:lnTo>
                    <a:pt x="7392" y="3258"/>
                  </a:lnTo>
                  <a:lnTo>
                    <a:pt x="7398" y="3258"/>
                  </a:lnTo>
                  <a:lnTo>
                    <a:pt x="7404" y="3270"/>
                  </a:lnTo>
                  <a:lnTo>
                    <a:pt x="7410" y="3276"/>
                  </a:lnTo>
                  <a:lnTo>
                    <a:pt x="7416" y="3288"/>
                  </a:lnTo>
                  <a:lnTo>
                    <a:pt x="7410" y="3288"/>
                  </a:lnTo>
                  <a:lnTo>
                    <a:pt x="7404" y="3294"/>
                  </a:lnTo>
                  <a:lnTo>
                    <a:pt x="7398" y="3306"/>
                  </a:lnTo>
                  <a:lnTo>
                    <a:pt x="7404" y="3318"/>
                  </a:lnTo>
                  <a:lnTo>
                    <a:pt x="7404" y="3330"/>
                  </a:lnTo>
                  <a:lnTo>
                    <a:pt x="7404" y="3336"/>
                  </a:lnTo>
                  <a:lnTo>
                    <a:pt x="7398" y="3342"/>
                  </a:lnTo>
                  <a:lnTo>
                    <a:pt x="7386" y="3342"/>
                  </a:lnTo>
                  <a:lnTo>
                    <a:pt x="7380" y="3348"/>
                  </a:lnTo>
                  <a:lnTo>
                    <a:pt x="7374" y="3354"/>
                  </a:lnTo>
                  <a:lnTo>
                    <a:pt x="7368" y="3354"/>
                  </a:lnTo>
                  <a:lnTo>
                    <a:pt x="7368" y="3360"/>
                  </a:lnTo>
                  <a:lnTo>
                    <a:pt x="7362" y="3360"/>
                  </a:lnTo>
                  <a:lnTo>
                    <a:pt x="7356" y="3366"/>
                  </a:lnTo>
                  <a:lnTo>
                    <a:pt x="7350" y="3366"/>
                  </a:lnTo>
                  <a:lnTo>
                    <a:pt x="7344" y="3372"/>
                  </a:lnTo>
                  <a:lnTo>
                    <a:pt x="7338" y="3378"/>
                  </a:lnTo>
                  <a:lnTo>
                    <a:pt x="7326" y="3378"/>
                  </a:lnTo>
                  <a:lnTo>
                    <a:pt x="7326" y="3384"/>
                  </a:lnTo>
                  <a:lnTo>
                    <a:pt x="7326" y="3390"/>
                  </a:lnTo>
                  <a:lnTo>
                    <a:pt x="7320" y="3402"/>
                  </a:lnTo>
                  <a:lnTo>
                    <a:pt x="7314" y="3396"/>
                  </a:lnTo>
                  <a:lnTo>
                    <a:pt x="7308" y="3402"/>
                  </a:lnTo>
                  <a:lnTo>
                    <a:pt x="7308" y="3414"/>
                  </a:lnTo>
                  <a:lnTo>
                    <a:pt x="7308" y="3420"/>
                  </a:lnTo>
                  <a:lnTo>
                    <a:pt x="7308" y="3432"/>
                  </a:lnTo>
                  <a:lnTo>
                    <a:pt x="7314" y="3444"/>
                  </a:lnTo>
                  <a:lnTo>
                    <a:pt x="7314" y="3456"/>
                  </a:lnTo>
                  <a:lnTo>
                    <a:pt x="7314" y="3462"/>
                  </a:lnTo>
                  <a:lnTo>
                    <a:pt x="7314" y="3474"/>
                  </a:lnTo>
                  <a:lnTo>
                    <a:pt x="7314" y="3480"/>
                  </a:lnTo>
                  <a:lnTo>
                    <a:pt x="7308" y="3486"/>
                  </a:lnTo>
                  <a:lnTo>
                    <a:pt x="7314" y="3492"/>
                  </a:lnTo>
                  <a:lnTo>
                    <a:pt x="7308" y="3504"/>
                  </a:lnTo>
                  <a:lnTo>
                    <a:pt x="7308" y="3516"/>
                  </a:lnTo>
                  <a:lnTo>
                    <a:pt x="7296" y="3528"/>
                  </a:lnTo>
                  <a:lnTo>
                    <a:pt x="7290" y="3534"/>
                  </a:lnTo>
                  <a:lnTo>
                    <a:pt x="7284" y="3540"/>
                  </a:lnTo>
                  <a:lnTo>
                    <a:pt x="7278" y="3552"/>
                  </a:lnTo>
                  <a:lnTo>
                    <a:pt x="7278" y="3564"/>
                  </a:lnTo>
                  <a:lnTo>
                    <a:pt x="7284" y="3570"/>
                  </a:lnTo>
                  <a:lnTo>
                    <a:pt x="7296" y="3570"/>
                  </a:lnTo>
                  <a:lnTo>
                    <a:pt x="7302" y="3576"/>
                  </a:lnTo>
                  <a:lnTo>
                    <a:pt x="7320" y="3588"/>
                  </a:lnTo>
                  <a:lnTo>
                    <a:pt x="7332" y="3594"/>
                  </a:lnTo>
                  <a:lnTo>
                    <a:pt x="7344" y="3594"/>
                  </a:lnTo>
                  <a:lnTo>
                    <a:pt x="7344" y="3600"/>
                  </a:lnTo>
                  <a:lnTo>
                    <a:pt x="7350" y="3606"/>
                  </a:lnTo>
                  <a:lnTo>
                    <a:pt x="7350" y="3624"/>
                  </a:lnTo>
                  <a:lnTo>
                    <a:pt x="7356" y="3636"/>
                  </a:lnTo>
                  <a:lnTo>
                    <a:pt x="7344" y="3648"/>
                  </a:lnTo>
                  <a:lnTo>
                    <a:pt x="7338" y="3654"/>
                  </a:lnTo>
                  <a:lnTo>
                    <a:pt x="7332" y="3654"/>
                  </a:lnTo>
                  <a:lnTo>
                    <a:pt x="7332" y="3660"/>
                  </a:lnTo>
                  <a:lnTo>
                    <a:pt x="7332" y="3666"/>
                  </a:lnTo>
                  <a:lnTo>
                    <a:pt x="7326" y="3672"/>
                  </a:lnTo>
                  <a:lnTo>
                    <a:pt x="7332" y="3678"/>
                  </a:lnTo>
                  <a:lnTo>
                    <a:pt x="7332" y="3684"/>
                  </a:lnTo>
                  <a:lnTo>
                    <a:pt x="7326" y="3690"/>
                  </a:lnTo>
                  <a:lnTo>
                    <a:pt x="7320" y="3696"/>
                  </a:lnTo>
                  <a:lnTo>
                    <a:pt x="7320" y="3702"/>
                  </a:lnTo>
                  <a:lnTo>
                    <a:pt x="7320" y="3708"/>
                  </a:lnTo>
                  <a:lnTo>
                    <a:pt x="7314" y="3708"/>
                  </a:lnTo>
                  <a:lnTo>
                    <a:pt x="7308" y="3708"/>
                  </a:lnTo>
                  <a:lnTo>
                    <a:pt x="7302" y="3702"/>
                  </a:lnTo>
                  <a:lnTo>
                    <a:pt x="7296" y="3702"/>
                  </a:lnTo>
                  <a:lnTo>
                    <a:pt x="7290" y="3696"/>
                  </a:lnTo>
                  <a:lnTo>
                    <a:pt x="7284" y="3696"/>
                  </a:lnTo>
                  <a:lnTo>
                    <a:pt x="7272" y="3702"/>
                  </a:lnTo>
                  <a:lnTo>
                    <a:pt x="7260" y="3714"/>
                  </a:lnTo>
                  <a:lnTo>
                    <a:pt x="7248" y="3708"/>
                  </a:lnTo>
                  <a:lnTo>
                    <a:pt x="7236" y="3702"/>
                  </a:lnTo>
                  <a:lnTo>
                    <a:pt x="7230" y="3702"/>
                  </a:lnTo>
                  <a:lnTo>
                    <a:pt x="7230" y="3708"/>
                  </a:lnTo>
                  <a:lnTo>
                    <a:pt x="7230" y="3720"/>
                  </a:lnTo>
                  <a:lnTo>
                    <a:pt x="7230" y="3726"/>
                  </a:lnTo>
                  <a:lnTo>
                    <a:pt x="7230" y="3732"/>
                  </a:lnTo>
                  <a:lnTo>
                    <a:pt x="7236" y="3738"/>
                  </a:lnTo>
                  <a:lnTo>
                    <a:pt x="7242" y="3744"/>
                  </a:lnTo>
                  <a:lnTo>
                    <a:pt x="7248" y="3750"/>
                  </a:lnTo>
                  <a:lnTo>
                    <a:pt x="7254" y="3762"/>
                  </a:lnTo>
                  <a:lnTo>
                    <a:pt x="7260" y="3762"/>
                  </a:lnTo>
                  <a:lnTo>
                    <a:pt x="7266" y="3756"/>
                  </a:lnTo>
                  <a:lnTo>
                    <a:pt x="7272" y="3756"/>
                  </a:lnTo>
                  <a:lnTo>
                    <a:pt x="7272" y="3762"/>
                  </a:lnTo>
                  <a:lnTo>
                    <a:pt x="7266" y="3780"/>
                  </a:lnTo>
                  <a:lnTo>
                    <a:pt x="7260" y="3786"/>
                  </a:lnTo>
                  <a:lnTo>
                    <a:pt x="7254" y="3792"/>
                  </a:lnTo>
                  <a:lnTo>
                    <a:pt x="7248" y="3798"/>
                  </a:lnTo>
                  <a:lnTo>
                    <a:pt x="7236" y="3804"/>
                  </a:lnTo>
                  <a:lnTo>
                    <a:pt x="7230" y="3810"/>
                  </a:lnTo>
                  <a:lnTo>
                    <a:pt x="7230" y="3852"/>
                  </a:lnTo>
                  <a:lnTo>
                    <a:pt x="7188" y="3846"/>
                  </a:lnTo>
                  <a:lnTo>
                    <a:pt x="7182" y="3846"/>
                  </a:lnTo>
                  <a:lnTo>
                    <a:pt x="7182" y="3840"/>
                  </a:lnTo>
                  <a:lnTo>
                    <a:pt x="7182" y="3834"/>
                  </a:lnTo>
                  <a:lnTo>
                    <a:pt x="7170" y="3834"/>
                  </a:lnTo>
                  <a:lnTo>
                    <a:pt x="7164" y="3834"/>
                  </a:lnTo>
                  <a:lnTo>
                    <a:pt x="7158" y="3834"/>
                  </a:lnTo>
                  <a:lnTo>
                    <a:pt x="7158" y="3840"/>
                  </a:lnTo>
                  <a:lnTo>
                    <a:pt x="7152" y="3846"/>
                  </a:lnTo>
                  <a:lnTo>
                    <a:pt x="7146" y="3846"/>
                  </a:lnTo>
                  <a:lnTo>
                    <a:pt x="7128" y="3852"/>
                  </a:lnTo>
                  <a:lnTo>
                    <a:pt x="7110" y="3852"/>
                  </a:lnTo>
                  <a:lnTo>
                    <a:pt x="7110" y="3858"/>
                  </a:lnTo>
                  <a:lnTo>
                    <a:pt x="7098" y="3876"/>
                  </a:lnTo>
                  <a:lnTo>
                    <a:pt x="7098" y="3888"/>
                  </a:lnTo>
                  <a:lnTo>
                    <a:pt x="7092" y="3906"/>
                  </a:lnTo>
                  <a:lnTo>
                    <a:pt x="7092" y="3918"/>
                  </a:lnTo>
                  <a:lnTo>
                    <a:pt x="7092" y="3936"/>
                  </a:lnTo>
                  <a:lnTo>
                    <a:pt x="7092" y="3942"/>
                  </a:lnTo>
                  <a:lnTo>
                    <a:pt x="7104" y="3948"/>
                  </a:lnTo>
                  <a:lnTo>
                    <a:pt x="7110" y="3948"/>
                  </a:lnTo>
                  <a:lnTo>
                    <a:pt x="7116" y="3948"/>
                  </a:lnTo>
                  <a:lnTo>
                    <a:pt x="7110" y="3966"/>
                  </a:lnTo>
                  <a:lnTo>
                    <a:pt x="7098" y="3990"/>
                  </a:lnTo>
                  <a:lnTo>
                    <a:pt x="7104" y="3996"/>
                  </a:lnTo>
                  <a:lnTo>
                    <a:pt x="7098" y="4008"/>
                  </a:lnTo>
                  <a:lnTo>
                    <a:pt x="7092" y="4014"/>
                  </a:lnTo>
                  <a:lnTo>
                    <a:pt x="7086" y="4032"/>
                  </a:lnTo>
                  <a:lnTo>
                    <a:pt x="7074" y="4032"/>
                  </a:lnTo>
                  <a:lnTo>
                    <a:pt x="7068" y="4044"/>
                  </a:lnTo>
                  <a:lnTo>
                    <a:pt x="7074" y="4050"/>
                  </a:lnTo>
                  <a:lnTo>
                    <a:pt x="7068" y="4074"/>
                  </a:lnTo>
                  <a:lnTo>
                    <a:pt x="7068" y="4086"/>
                  </a:lnTo>
                  <a:lnTo>
                    <a:pt x="7062" y="4122"/>
                  </a:lnTo>
                  <a:lnTo>
                    <a:pt x="7086" y="4158"/>
                  </a:lnTo>
                  <a:lnTo>
                    <a:pt x="7086" y="4170"/>
                  </a:lnTo>
                  <a:lnTo>
                    <a:pt x="7092" y="4164"/>
                  </a:lnTo>
                  <a:lnTo>
                    <a:pt x="7104" y="4164"/>
                  </a:lnTo>
                  <a:lnTo>
                    <a:pt x="7116" y="4164"/>
                  </a:lnTo>
                  <a:lnTo>
                    <a:pt x="7122" y="4164"/>
                  </a:lnTo>
                  <a:lnTo>
                    <a:pt x="7122" y="4170"/>
                  </a:lnTo>
                  <a:lnTo>
                    <a:pt x="7128" y="4176"/>
                  </a:lnTo>
                  <a:lnTo>
                    <a:pt x="7146" y="4194"/>
                  </a:lnTo>
                  <a:lnTo>
                    <a:pt x="7146" y="4200"/>
                  </a:lnTo>
                  <a:lnTo>
                    <a:pt x="7158" y="4206"/>
                  </a:lnTo>
                  <a:lnTo>
                    <a:pt x="7152" y="4212"/>
                  </a:lnTo>
                  <a:lnTo>
                    <a:pt x="7146" y="4212"/>
                  </a:lnTo>
                  <a:lnTo>
                    <a:pt x="7152" y="4230"/>
                  </a:lnTo>
                  <a:lnTo>
                    <a:pt x="7140" y="4248"/>
                  </a:lnTo>
                  <a:lnTo>
                    <a:pt x="7140" y="4254"/>
                  </a:lnTo>
                  <a:lnTo>
                    <a:pt x="7134" y="4278"/>
                  </a:lnTo>
                  <a:lnTo>
                    <a:pt x="7128" y="4290"/>
                  </a:lnTo>
                  <a:lnTo>
                    <a:pt x="7140" y="4302"/>
                  </a:lnTo>
                  <a:lnTo>
                    <a:pt x="7122" y="4308"/>
                  </a:lnTo>
                  <a:lnTo>
                    <a:pt x="7116" y="4308"/>
                  </a:lnTo>
                  <a:lnTo>
                    <a:pt x="7110" y="4302"/>
                  </a:lnTo>
                  <a:lnTo>
                    <a:pt x="7086" y="4302"/>
                  </a:lnTo>
                  <a:lnTo>
                    <a:pt x="7074" y="4302"/>
                  </a:lnTo>
                  <a:lnTo>
                    <a:pt x="7062" y="4308"/>
                  </a:lnTo>
                  <a:lnTo>
                    <a:pt x="7050" y="4302"/>
                  </a:lnTo>
                  <a:lnTo>
                    <a:pt x="7044" y="4302"/>
                  </a:lnTo>
                  <a:lnTo>
                    <a:pt x="7032" y="4308"/>
                  </a:lnTo>
                  <a:lnTo>
                    <a:pt x="7032" y="4326"/>
                  </a:lnTo>
                  <a:lnTo>
                    <a:pt x="7020" y="4326"/>
                  </a:lnTo>
                  <a:lnTo>
                    <a:pt x="7020" y="4356"/>
                  </a:lnTo>
                  <a:lnTo>
                    <a:pt x="7014" y="4392"/>
                  </a:lnTo>
                  <a:lnTo>
                    <a:pt x="7026" y="4434"/>
                  </a:lnTo>
                  <a:lnTo>
                    <a:pt x="7014" y="4458"/>
                  </a:lnTo>
                  <a:lnTo>
                    <a:pt x="7002" y="4464"/>
                  </a:lnTo>
                  <a:lnTo>
                    <a:pt x="7002" y="4470"/>
                  </a:lnTo>
                  <a:lnTo>
                    <a:pt x="6996" y="4476"/>
                  </a:lnTo>
                  <a:lnTo>
                    <a:pt x="7008" y="4488"/>
                  </a:lnTo>
                  <a:lnTo>
                    <a:pt x="6996" y="4500"/>
                  </a:lnTo>
                  <a:lnTo>
                    <a:pt x="7014" y="4530"/>
                  </a:lnTo>
                  <a:lnTo>
                    <a:pt x="7008" y="4530"/>
                  </a:lnTo>
                  <a:lnTo>
                    <a:pt x="7008" y="4536"/>
                  </a:lnTo>
                  <a:lnTo>
                    <a:pt x="7002" y="4542"/>
                  </a:lnTo>
                  <a:lnTo>
                    <a:pt x="6990" y="4542"/>
                  </a:lnTo>
                  <a:lnTo>
                    <a:pt x="6978" y="4542"/>
                  </a:lnTo>
                  <a:lnTo>
                    <a:pt x="6966" y="4542"/>
                  </a:lnTo>
                  <a:lnTo>
                    <a:pt x="6966" y="4536"/>
                  </a:lnTo>
                  <a:lnTo>
                    <a:pt x="6936" y="4542"/>
                  </a:lnTo>
                  <a:lnTo>
                    <a:pt x="6924" y="4548"/>
                  </a:lnTo>
                  <a:lnTo>
                    <a:pt x="6924" y="4560"/>
                  </a:lnTo>
                  <a:lnTo>
                    <a:pt x="6924" y="4572"/>
                  </a:lnTo>
                  <a:lnTo>
                    <a:pt x="6924" y="4578"/>
                  </a:lnTo>
                  <a:lnTo>
                    <a:pt x="6918" y="4614"/>
                  </a:lnTo>
                  <a:lnTo>
                    <a:pt x="6918" y="4620"/>
                  </a:lnTo>
                  <a:lnTo>
                    <a:pt x="6912" y="4626"/>
                  </a:lnTo>
                  <a:lnTo>
                    <a:pt x="6906" y="4632"/>
                  </a:lnTo>
                  <a:lnTo>
                    <a:pt x="6900" y="4638"/>
                  </a:lnTo>
                  <a:lnTo>
                    <a:pt x="6900" y="4644"/>
                  </a:lnTo>
                  <a:lnTo>
                    <a:pt x="6888" y="4650"/>
                  </a:lnTo>
                  <a:lnTo>
                    <a:pt x="6882" y="4650"/>
                  </a:lnTo>
                  <a:lnTo>
                    <a:pt x="6876" y="4662"/>
                  </a:lnTo>
                  <a:lnTo>
                    <a:pt x="6876" y="4674"/>
                  </a:lnTo>
                  <a:lnTo>
                    <a:pt x="6846" y="4668"/>
                  </a:lnTo>
                  <a:lnTo>
                    <a:pt x="6834" y="4668"/>
                  </a:lnTo>
                  <a:lnTo>
                    <a:pt x="6816" y="4638"/>
                  </a:lnTo>
                  <a:lnTo>
                    <a:pt x="6810" y="4632"/>
                  </a:lnTo>
                  <a:lnTo>
                    <a:pt x="6792" y="4644"/>
                  </a:lnTo>
                  <a:lnTo>
                    <a:pt x="6786" y="4650"/>
                  </a:lnTo>
                  <a:lnTo>
                    <a:pt x="6780" y="4650"/>
                  </a:lnTo>
                  <a:lnTo>
                    <a:pt x="6774" y="4656"/>
                  </a:lnTo>
                  <a:lnTo>
                    <a:pt x="6750" y="4656"/>
                  </a:lnTo>
                  <a:lnTo>
                    <a:pt x="6732" y="4656"/>
                  </a:lnTo>
                  <a:lnTo>
                    <a:pt x="6720" y="4656"/>
                  </a:lnTo>
                  <a:lnTo>
                    <a:pt x="6708" y="4626"/>
                  </a:lnTo>
                  <a:lnTo>
                    <a:pt x="6696" y="4632"/>
                  </a:lnTo>
                  <a:lnTo>
                    <a:pt x="6690" y="4632"/>
                  </a:lnTo>
                  <a:lnTo>
                    <a:pt x="6678" y="4638"/>
                  </a:lnTo>
                  <a:lnTo>
                    <a:pt x="6678" y="4656"/>
                  </a:lnTo>
                  <a:lnTo>
                    <a:pt x="6678" y="4668"/>
                  </a:lnTo>
                  <a:lnTo>
                    <a:pt x="6654" y="4656"/>
                  </a:lnTo>
                  <a:lnTo>
                    <a:pt x="6630" y="4650"/>
                  </a:lnTo>
                  <a:lnTo>
                    <a:pt x="6606" y="4626"/>
                  </a:lnTo>
                  <a:lnTo>
                    <a:pt x="6552" y="4644"/>
                  </a:lnTo>
                  <a:lnTo>
                    <a:pt x="6540" y="4650"/>
                  </a:lnTo>
                  <a:lnTo>
                    <a:pt x="6492" y="4668"/>
                  </a:lnTo>
                  <a:lnTo>
                    <a:pt x="6474" y="4668"/>
                  </a:lnTo>
                  <a:lnTo>
                    <a:pt x="6444" y="4722"/>
                  </a:lnTo>
                  <a:lnTo>
                    <a:pt x="6474" y="4806"/>
                  </a:lnTo>
                  <a:lnTo>
                    <a:pt x="6474" y="4812"/>
                  </a:lnTo>
                  <a:lnTo>
                    <a:pt x="6444" y="4812"/>
                  </a:lnTo>
                  <a:lnTo>
                    <a:pt x="6426" y="4812"/>
                  </a:lnTo>
                  <a:lnTo>
                    <a:pt x="6426" y="4830"/>
                  </a:lnTo>
                  <a:lnTo>
                    <a:pt x="6444" y="4836"/>
                  </a:lnTo>
                  <a:lnTo>
                    <a:pt x="6432" y="4848"/>
                  </a:lnTo>
                  <a:lnTo>
                    <a:pt x="6426" y="4854"/>
                  </a:lnTo>
                  <a:lnTo>
                    <a:pt x="6426" y="4884"/>
                  </a:lnTo>
                  <a:lnTo>
                    <a:pt x="6414" y="4896"/>
                  </a:lnTo>
                  <a:lnTo>
                    <a:pt x="6414" y="4902"/>
                  </a:lnTo>
                  <a:lnTo>
                    <a:pt x="6402" y="4908"/>
                  </a:lnTo>
                  <a:lnTo>
                    <a:pt x="6396" y="4914"/>
                  </a:lnTo>
                  <a:lnTo>
                    <a:pt x="6396" y="4926"/>
                  </a:lnTo>
                  <a:lnTo>
                    <a:pt x="6396" y="4932"/>
                  </a:lnTo>
                  <a:lnTo>
                    <a:pt x="6384" y="4944"/>
                  </a:lnTo>
                  <a:lnTo>
                    <a:pt x="6378" y="4938"/>
                  </a:lnTo>
                  <a:lnTo>
                    <a:pt x="6366" y="4932"/>
                  </a:lnTo>
                  <a:lnTo>
                    <a:pt x="6354" y="4938"/>
                  </a:lnTo>
                  <a:lnTo>
                    <a:pt x="6348" y="4938"/>
                  </a:lnTo>
                  <a:lnTo>
                    <a:pt x="6342" y="4950"/>
                  </a:lnTo>
                  <a:lnTo>
                    <a:pt x="6336" y="4962"/>
                  </a:lnTo>
                  <a:lnTo>
                    <a:pt x="6336" y="4980"/>
                  </a:lnTo>
                  <a:lnTo>
                    <a:pt x="6330" y="4986"/>
                  </a:lnTo>
                  <a:lnTo>
                    <a:pt x="6318" y="4986"/>
                  </a:lnTo>
                  <a:lnTo>
                    <a:pt x="6306" y="4980"/>
                  </a:lnTo>
                  <a:lnTo>
                    <a:pt x="6300" y="4968"/>
                  </a:lnTo>
                  <a:lnTo>
                    <a:pt x="6288" y="4956"/>
                  </a:lnTo>
                  <a:lnTo>
                    <a:pt x="6270" y="4950"/>
                  </a:lnTo>
                  <a:lnTo>
                    <a:pt x="6258" y="4944"/>
                  </a:lnTo>
                  <a:lnTo>
                    <a:pt x="6240" y="4938"/>
                  </a:lnTo>
                  <a:lnTo>
                    <a:pt x="6228" y="4926"/>
                  </a:lnTo>
                  <a:lnTo>
                    <a:pt x="6204" y="4914"/>
                  </a:lnTo>
                  <a:lnTo>
                    <a:pt x="6186" y="4902"/>
                  </a:lnTo>
                  <a:lnTo>
                    <a:pt x="6168" y="4902"/>
                  </a:lnTo>
                  <a:lnTo>
                    <a:pt x="6150" y="4902"/>
                  </a:lnTo>
                  <a:lnTo>
                    <a:pt x="6132" y="4896"/>
                  </a:lnTo>
                  <a:lnTo>
                    <a:pt x="6120" y="4890"/>
                  </a:lnTo>
                  <a:lnTo>
                    <a:pt x="6114" y="4896"/>
                  </a:lnTo>
                  <a:lnTo>
                    <a:pt x="6120" y="4902"/>
                  </a:lnTo>
                  <a:lnTo>
                    <a:pt x="6114" y="4908"/>
                  </a:lnTo>
                  <a:lnTo>
                    <a:pt x="6120" y="4920"/>
                  </a:lnTo>
                  <a:lnTo>
                    <a:pt x="6120" y="4926"/>
                  </a:lnTo>
                  <a:lnTo>
                    <a:pt x="6120" y="4932"/>
                  </a:lnTo>
                  <a:lnTo>
                    <a:pt x="6096" y="4968"/>
                  </a:lnTo>
                  <a:lnTo>
                    <a:pt x="6078" y="4992"/>
                  </a:lnTo>
                  <a:lnTo>
                    <a:pt x="6048" y="4992"/>
                  </a:lnTo>
                  <a:lnTo>
                    <a:pt x="6036" y="4998"/>
                  </a:lnTo>
                  <a:lnTo>
                    <a:pt x="6012" y="4986"/>
                  </a:lnTo>
                  <a:lnTo>
                    <a:pt x="6000" y="4980"/>
                  </a:lnTo>
                  <a:lnTo>
                    <a:pt x="5994" y="4974"/>
                  </a:lnTo>
                  <a:lnTo>
                    <a:pt x="5988" y="4986"/>
                  </a:lnTo>
                  <a:lnTo>
                    <a:pt x="5970" y="4980"/>
                  </a:lnTo>
                  <a:lnTo>
                    <a:pt x="5970" y="4974"/>
                  </a:lnTo>
                  <a:lnTo>
                    <a:pt x="5964" y="4980"/>
                  </a:lnTo>
                  <a:lnTo>
                    <a:pt x="5952" y="4992"/>
                  </a:lnTo>
                  <a:lnTo>
                    <a:pt x="5946" y="4980"/>
                  </a:lnTo>
                  <a:lnTo>
                    <a:pt x="5928" y="4962"/>
                  </a:lnTo>
                  <a:lnTo>
                    <a:pt x="5886" y="5004"/>
                  </a:lnTo>
                  <a:lnTo>
                    <a:pt x="5880" y="5010"/>
                  </a:lnTo>
                  <a:lnTo>
                    <a:pt x="5874" y="5004"/>
                  </a:lnTo>
                  <a:lnTo>
                    <a:pt x="5874" y="4998"/>
                  </a:lnTo>
                  <a:lnTo>
                    <a:pt x="5868" y="5004"/>
                  </a:lnTo>
                  <a:lnTo>
                    <a:pt x="5856" y="5010"/>
                  </a:lnTo>
                  <a:lnTo>
                    <a:pt x="5832" y="5040"/>
                  </a:lnTo>
                  <a:lnTo>
                    <a:pt x="5826" y="5052"/>
                  </a:lnTo>
                  <a:lnTo>
                    <a:pt x="5826" y="5064"/>
                  </a:lnTo>
                  <a:lnTo>
                    <a:pt x="5820" y="5064"/>
                  </a:lnTo>
                  <a:lnTo>
                    <a:pt x="5820" y="5070"/>
                  </a:lnTo>
                  <a:lnTo>
                    <a:pt x="5784" y="5076"/>
                  </a:lnTo>
                  <a:lnTo>
                    <a:pt x="5784" y="5058"/>
                  </a:lnTo>
                  <a:lnTo>
                    <a:pt x="5766" y="5058"/>
                  </a:lnTo>
                  <a:lnTo>
                    <a:pt x="5754" y="5058"/>
                  </a:lnTo>
                  <a:lnTo>
                    <a:pt x="5742" y="5064"/>
                  </a:lnTo>
                  <a:lnTo>
                    <a:pt x="5730" y="5028"/>
                  </a:lnTo>
                  <a:lnTo>
                    <a:pt x="5712" y="5022"/>
                  </a:lnTo>
                  <a:lnTo>
                    <a:pt x="5694" y="5010"/>
                  </a:lnTo>
                  <a:lnTo>
                    <a:pt x="5646" y="5052"/>
                  </a:lnTo>
                  <a:lnTo>
                    <a:pt x="5634" y="5046"/>
                  </a:lnTo>
                  <a:lnTo>
                    <a:pt x="5604" y="5040"/>
                  </a:lnTo>
                  <a:lnTo>
                    <a:pt x="5598" y="5028"/>
                  </a:lnTo>
                  <a:lnTo>
                    <a:pt x="5586" y="5004"/>
                  </a:lnTo>
                  <a:lnTo>
                    <a:pt x="5568" y="4998"/>
                  </a:lnTo>
                  <a:lnTo>
                    <a:pt x="5550" y="5052"/>
                  </a:lnTo>
                  <a:lnTo>
                    <a:pt x="5526" y="5046"/>
                  </a:lnTo>
                  <a:lnTo>
                    <a:pt x="5496" y="5064"/>
                  </a:lnTo>
                  <a:lnTo>
                    <a:pt x="5472" y="5016"/>
                  </a:lnTo>
                  <a:lnTo>
                    <a:pt x="5466" y="5004"/>
                  </a:lnTo>
                  <a:lnTo>
                    <a:pt x="5454" y="5004"/>
                  </a:lnTo>
                  <a:lnTo>
                    <a:pt x="5442" y="5004"/>
                  </a:lnTo>
                  <a:lnTo>
                    <a:pt x="5424" y="5004"/>
                  </a:lnTo>
                  <a:lnTo>
                    <a:pt x="5382" y="5010"/>
                  </a:lnTo>
                  <a:lnTo>
                    <a:pt x="5352" y="5028"/>
                  </a:lnTo>
                  <a:lnTo>
                    <a:pt x="5298" y="5070"/>
                  </a:lnTo>
                  <a:lnTo>
                    <a:pt x="5274" y="5082"/>
                  </a:lnTo>
                  <a:lnTo>
                    <a:pt x="5250" y="5088"/>
                  </a:lnTo>
                  <a:lnTo>
                    <a:pt x="5226" y="5106"/>
                  </a:lnTo>
                  <a:lnTo>
                    <a:pt x="5220" y="5118"/>
                  </a:lnTo>
                  <a:lnTo>
                    <a:pt x="5214" y="5124"/>
                  </a:lnTo>
                  <a:lnTo>
                    <a:pt x="5208" y="5124"/>
                  </a:lnTo>
                  <a:lnTo>
                    <a:pt x="5202" y="5130"/>
                  </a:lnTo>
                  <a:lnTo>
                    <a:pt x="5196" y="5136"/>
                  </a:lnTo>
                  <a:lnTo>
                    <a:pt x="5190" y="5136"/>
                  </a:lnTo>
                  <a:lnTo>
                    <a:pt x="5148" y="5118"/>
                  </a:lnTo>
                  <a:lnTo>
                    <a:pt x="5106" y="5112"/>
                  </a:lnTo>
                  <a:lnTo>
                    <a:pt x="5046" y="5064"/>
                  </a:lnTo>
                  <a:lnTo>
                    <a:pt x="5034" y="5052"/>
                  </a:lnTo>
                  <a:lnTo>
                    <a:pt x="5016" y="5070"/>
                  </a:lnTo>
                  <a:lnTo>
                    <a:pt x="4986" y="5046"/>
                  </a:lnTo>
                  <a:lnTo>
                    <a:pt x="4938" y="5088"/>
                  </a:lnTo>
                  <a:lnTo>
                    <a:pt x="4896" y="5094"/>
                  </a:lnTo>
                  <a:lnTo>
                    <a:pt x="4848" y="5100"/>
                  </a:lnTo>
                  <a:lnTo>
                    <a:pt x="4836" y="5112"/>
                  </a:lnTo>
                  <a:lnTo>
                    <a:pt x="4794" y="5154"/>
                  </a:lnTo>
                  <a:lnTo>
                    <a:pt x="4764" y="5166"/>
                  </a:lnTo>
                  <a:lnTo>
                    <a:pt x="4770" y="5196"/>
                  </a:lnTo>
                  <a:lnTo>
                    <a:pt x="4806" y="5214"/>
                  </a:lnTo>
                  <a:lnTo>
                    <a:pt x="4794" y="5220"/>
                  </a:lnTo>
                  <a:lnTo>
                    <a:pt x="4776" y="5232"/>
                  </a:lnTo>
                  <a:lnTo>
                    <a:pt x="4746" y="5256"/>
                  </a:lnTo>
                  <a:lnTo>
                    <a:pt x="4728" y="5268"/>
                  </a:lnTo>
                  <a:lnTo>
                    <a:pt x="4722" y="5304"/>
                  </a:lnTo>
                  <a:lnTo>
                    <a:pt x="4674" y="5352"/>
                  </a:lnTo>
                  <a:lnTo>
                    <a:pt x="4662" y="5388"/>
                  </a:lnTo>
                  <a:lnTo>
                    <a:pt x="4632" y="5394"/>
                  </a:lnTo>
                  <a:lnTo>
                    <a:pt x="4620" y="5406"/>
                  </a:lnTo>
                  <a:lnTo>
                    <a:pt x="4590" y="5376"/>
                  </a:lnTo>
                  <a:lnTo>
                    <a:pt x="4500" y="5448"/>
                  </a:lnTo>
                  <a:lnTo>
                    <a:pt x="4548" y="5490"/>
                  </a:lnTo>
                  <a:lnTo>
                    <a:pt x="4554" y="5502"/>
                  </a:lnTo>
                  <a:lnTo>
                    <a:pt x="4536" y="5508"/>
                  </a:lnTo>
                  <a:lnTo>
                    <a:pt x="4524" y="5496"/>
                  </a:lnTo>
                  <a:lnTo>
                    <a:pt x="4518" y="5490"/>
                  </a:lnTo>
                  <a:lnTo>
                    <a:pt x="4344" y="5508"/>
                  </a:lnTo>
                  <a:lnTo>
                    <a:pt x="4338" y="5508"/>
                  </a:lnTo>
                  <a:lnTo>
                    <a:pt x="4332" y="5502"/>
                  </a:lnTo>
                  <a:lnTo>
                    <a:pt x="4314" y="5508"/>
                  </a:lnTo>
                  <a:lnTo>
                    <a:pt x="4308" y="5490"/>
                  </a:lnTo>
                  <a:lnTo>
                    <a:pt x="4296" y="5466"/>
                  </a:lnTo>
                  <a:lnTo>
                    <a:pt x="4290" y="5454"/>
                  </a:lnTo>
                  <a:lnTo>
                    <a:pt x="4284" y="5442"/>
                  </a:lnTo>
                  <a:lnTo>
                    <a:pt x="4278" y="5430"/>
                  </a:lnTo>
                  <a:lnTo>
                    <a:pt x="4272" y="5430"/>
                  </a:lnTo>
                  <a:lnTo>
                    <a:pt x="4254" y="5436"/>
                  </a:lnTo>
                  <a:lnTo>
                    <a:pt x="4242" y="5454"/>
                  </a:lnTo>
                  <a:lnTo>
                    <a:pt x="4230" y="5484"/>
                  </a:lnTo>
                  <a:lnTo>
                    <a:pt x="4218" y="5502"/>
                  </a:lnTo>
                  <a:lnTo>
                    <a:pt x="4206" y="5520"/>
                  </a:lnTo>
                  <a:lnTo>
                    <a:pt x="4206" y="5526"/>
                  </a:lnTo>
                  <a:lnTo>
                    <a:pt x="4212" y="5538"/>
                  </a:lnTo>
                  <a:lnTo>
                    <a:pt x="4218" y="5544"/>
                  </a:lnTo>
                  <a:lnTo>
                    <a:pt x="4230" y="5562"/>
                  </a:lnTo>
                  <a:lnTo>
                    <a:pt x="4230" y="5568"/>
                  </a:lnTo>
                  <a:lnTo>
                    <a:pt x="4242" y="5592"/>
                  </a:lnTo>
                  <a:lnTo>
                    <a:pt x="4182" y="5604"/>
                  </a:lnTo>
                  <a:lnTo>
                    <a:pt x="4164" y="5604"/>
                  </a:lnTo>
                  <a:lnTo>
                    <a:pt x="4158" y="5610"/>
                  </a:lnTo>
                  <a:lnTo>
                    <a:pt x="4158" y="5616"/>
                  </a:lnTo>
                  <a:lnTo>
                    <a:pt x="4152" y="5622"/>
                  </a:lnTo>
                  <a:lnTo>
                    <a:pt x="4140" y="5634"/>
                  </a:lnTo>
                  <a:lnTo>
                    <a:pt x="4164" y="5682"/>
                  </a:lnTo>
                  <a:lnTo>
                    <a:pt x="4146" y="5688"/>
                  </a:lnTo>
                  <a:lnTo>
                    <a:pt x="4134" y="5676"/>
                  </a:lnTo>
                  <a:lnTo>
                    <a:pt x="4134" y="5670"/>
                  </a:lnTo>
                  <a:lnTo>
                    <a:pt x="4098" y="5688"/>
                  </a:lnTo>
                  <a:lnTo>
                    <a:pt x="4062" y="5688"/>
                  </a:lnTo>
                  <a:lnTo>
                    <a:pt x="4008" y="5664"/>
                  </a:lnTo>
                  <a:lnTo>
                    <a:pt x="3978" y="5706"/>
                  </a:lnTo>
                  <a:lnTo>
                    <a:pt x="3996" y="5724"/>
                  </a:lnTo>
                  <a:lnTo>
                    <a:pt x="3990" y="5730"/>
                  </a:lnTo>
                  <a:lnTo>
                    <a:pt x="3972" y="5736"/>
                  </a:lnTo>
                  <a:lnTo>
                    <a:pt x="3966" y="5736"/>
                  </a:lnTo>
                  <a:lnTo>
                    <a:pt x="3960" y="5730"/>
                  </a:lnTo>
                  <a:lnTo>
                    <a:pt x="3960" y="5736"/>
                  </a:lnTo>
                  <a:lnTo>
                    <a:pt x="3966" y="5748"/>
                  </a:lnTo>
                  <a:lnTo>
                    <a:pt x="3912" y="5766"/>
                  </a:lnTo>
                  <a:lnTo>
                    <a:pt x="3906" y="5754"/>
                  </a:lnTo>
                  <a:lnTo>
                    <a:pt x="3900" y="5748"/>
                  </a:lnTo>
                  <a:lnTo>
                    <a:pt x="3900" y="5754"/>
                  </a:lnTo>
                  <a:lnTo>
                    <a:pt x="3888" y="5760"/>
                  </a:lnTo>
                  <a:lnTo>
                    <a:pt x="3882" y="5772"/>
                  </a:lnTo>
                  <a:lnTo>
                    <a:pt x="3894" y="5784"/>
                  </a:lnTo>
                  <a:lnTo>
                    <a:pt x="3900" y="5796"/>
                  </a:lnTo>
                  <a:lnTo>
                    <a:pt x="3894" y="5814"/>
                  </a:lnTo>
                  <a:lnTo>
                    <a:pt x="3870" y="5826"/>
                  </a:lnTo>
                  <a:lnTo>
                    <a:pt x="3858" y="5820"/>
                  </a:lnTo>
                  <a:lnTo>
                    <a:pt x="3852" y="5814"/>
                  </a:lnTo>
                  <a:lnTo>
                    <a:pt x="3840" y="5808"/>
                  </a:lnTo>
                  <a:lnTo>
                    <a:pt x="3822" y="5808"/>
                  </a:lnTo>
                  <a:lnTo>
                    <a:pt x="3816" y="5796"/>
                  </a:lnTo>
                  <a:lnTo>
                    <a:pt x="3804" y="5790"/>
                  </a:lnTo>
                  <a:lnTo>
                    <a:pt x="3792" y="5790"/>
                  </a:lnTo>
                  <a:lnTo>
                    <a:pt x="3768" y="5784"/>
                  </a:lnTo>
                  <a:lnTo>
                    <a:pt x="3750" y="5772"/>
                  </a:lnTo>
                  <a:lnTo>
                    <a:pt x="3738" y="5760"/>
                  </a:lnTo>
                  <a:lnTo>
                    <a:pt x="3726" y="5760"/>
                  </a:lnTo>
                  <a:lnTo>
                    <a:pt x="3702" y="5772"/>
                  </a:lnTo>
                  <a:lnTo>
                    <a:pt x="3696" y="5778"/>
                  </a:lnTo>
                  <a:lnTo>
                    <a:pt x="3690" y="5772"/>
                  </a:lnTo>
                  <a:lnTo>
                    <a:pt x="3684" y="5766"/>
                  </a:lnTo>
                  <a:lnTo>
                    <a:pt x="3678" y="5766"/>
                  </a:lnTo>
                  <a:lnTo>
                    <a:pt x="3678" y="5790"/>
                  </a:lnTo>
                  <a:lnTo>
                    <a:pt x="3690" y="5796"/>
                  </a:lnTo>
                  <a:lnTo>
                    <a:pt x="3690" y="5802"/>
                  </a:lnTo>
                  <a:lnTo>
                    <a:pt x="3684" y="5814"/>
                  </a:lnTo>
                  <a:lnTo>
                    <a:pt x="3678" y="5814"/>
                  </a:lnTo>
                  <a:lnTo>
                    <a:pt x="3660" y="5820"/>
                  </a:lnTo>
                  <a:lnTo>
                    <a:pt x="3660" y="5832"/>
                  </a:lnTo>
                  <a:lnTo>
                    <a:pt x="3666" y="5838"/>
                  </a:lnTo>
                  <a:lnTo>
                    <a:pt x="3666" y="5844"/>
                  </a:lnTo>
                  <a:lnTo>
                    <a:pt x="3678" y="5850"/>
                  </a:lnTo>
                  <a:lnTo>
                    <a:pt x="3684" y="5856"/>
                  </a:lnTo>
                  <a:lnTo>
                    <a:pt x="3678" y="5856"/>
                  </a:lnTo>
                  <a:lnTo>
                    <a:pt x="3660" y="5868"/>
                  </a:lnTo>
                  <a:lnTo>
                    <a:pt x="3648" y="5856"/>
                  </a:lnTo>
                  <a:lnTo>
                    <a:pt x="3642" y="5862"/>
                  </a:lnTo>
                  <a:lnTo>
                    <a:pt x="3642" y="5898"/>
                  </a:lnTo>
                  <a:lnTo>
                    <a:pt x="3630" y="5904"/>
                  </a:lnTo>
                  <a:lnTo>
                    <a:pt x="3636" y="5916"/>
                  </a:lnTo>
                  <a:lnTo>
                    <a:pt x="3648" y="5928"/>
                  </a:lnTo>
                  <a:lnTo>
                    <a:pt x="3630" y="5934"/>
                  </a:lnTo>
                  <a:lnTo>
                    <a:pt x="3624" y="5940"/>
                  </a:lnTo>
                  <a:lnTo>
                    <a:pt x="3618" y="5940"/>
                  </a:lnTo>
                  <a:lnTo>
                    <a:pt x="3618" y="5946"/>
                  </a:lnTo>
                  <a:lnTo>
                    <a:pt x="3624" y="5958"/>
                  </a:lnTo>
                  <a:lnTo>
                    <a:pt x="3612" y="5970"/>
                  </a:lnTo>
                  <a:lnTo>
                    <a:pt x="3600" y="5982"/>
                  </a:lnTo>
                  <a:lnTo>
                    <a:pt x="3582" y="5988"/>
                  </a:lnTo>
                  <a:lnTo>
                    <a:pt x="3588" y="6000"/>
                  </a:lnTo>
                  <a:lnTo>
                    <a:pt x="3588" y="6012"/>
                  </a:lnTo>
                  <a:lnTo>
                    <a:pt x="3564" y="6006"/>
                  </a:lnTo>
                  <a:lnTo>
                    <a:pt x="3564" y="6024"/>
                  </a:lnTo>
                  <a:lnTo>
                    <a:pt x="3564" y="6030"/>
                  </a:lnTo>
                  <a:lnTo>
                    <a:pt x="3552" y="6030"/>
                  </a:lnTo>
                  <a:lnTo>
                    <a:pt x="3546" y="6030"/>
                  </a:lnTo>
                  <a:lnTo>
                    <a:pt x="3534" y="6030"/>
                  </a:lnTo>
                  <a:lnTo>
                    <a:pt x="3516" y="6042"/>
                  </a:lnTo>
                  <a:lnTo>
                    <a:pt x="3522" y="6048"/>
                  </a:lnTo>
                  <a:lnTo>
                    <a:pt x="3522" y="6054"/>
                  </a:lnTo>
                  <a:lnTo>
                    <a:pt x="3510" y="6054"/>
                  </a:lnTo>
                  <a:lnTo>
                    <a:pt x="3504" y="6054"/>
                  </a:lnTo>
                  <a:lnTo>
                    <a:pt x="3492" y="6048"/>
                  </a:lnTo>
                  <a:lnTo>
                    <a:pt x="3492" y="6042"/>
                  </a:lnTo>
                  <a:lnTo>
                    <a:pt x="3492" y="6036"/>
                  </a:lnTo>
                  <a:lnTo>
                    <a:pt x="3486" y="6036"/>
                  </a:lnTo>
                  <a:lnTo>
                    <a:pt x="3480" y="6036"/>
                  </a:lnTo>
                  <a:lnTo>
                    <a:pt x="3474" y="6042"/>
                  </a:lnTo>
                  <a:lnTo>
                    <a:pt x="3468" y="6042"/>
                  </a:lnTo>
                  <a:lnTo>
                    <a:pt x="3468" y="6048"/>
                  </a:lnTo>
                  <a:lnTo>
                    <a:pt x="3468" y="6072"/>
                  </a:lnTo>
                  <a:lnTo>
                    <a:pt x="3468" y="6084"/>
                  </a:lnTo>
                  <a:lnTo>
                    <a:pt x="3468" y="6096"/>
                  </a:lnTo>
                  <a:lnTo>
                    <a:pt x="3444" y="6102"/>
                  </a:lnTo>
                  <a:lnTo>
                    <a:pt x="3432" y="6096"/>
                  </a:lnTo>
                  <a:lnTo>
                    <a:pt x="3432" y="6102"/>
                  </a:lnTo>
                  <a:lnTo>
                    <a:pt x="3420" y="6114"/>
                  </a:lnTo>
                  <a:lnTo>
                    <a:pt x="3426" y="6120"/>
                  </a:lnTo>
                  <a:lnTo>
                    <a:pt x="3426" y="6138"/>
                  </a:lnTo>
                  <a:lnTo>
                    <a:pt x="3432" y="6138"/>
                  </a:lnTo>
                  <a:lnTo>
                    <a:pt x="3426" y="6150"/>
                  </a:lnTo>
                  <a:lnTo>
                    <a:pt x="3426" y="6156"/>
                  </a:lnTo>
                  <a:lnTo>
                    <a:pt x="3414" y="6156"/>
                  </a:lnTo>
                  <a:lnTo>
                    <a:pt x="3402" y="6156"/>
                  </a:lnTo>
                  <a:lnTo>
                    <a:pt x="3384" y="6156"/>
                  </a:lnTo>
                  <a:lnTo>
                    <a:pt x="3378" y="6162"/>
                  </a:lnTo>
                  <a:lnTo>
                    <a:pt x="3366" y="6156"/>
                  </a:lnTo>
                  <a:lnTo>
                    <a:pt x="3354" y="6144"/>
                  </a:lnTo>
                  <a:lnTo>
                    <a:pt x="3354" y="6138"/>
                  </a:lnTo>
                  <a:lnTo>
                    <a:pt x="3354" y="6132"/>
                  </a:lnTo>
                  <a:lnTo>
                    <a:pt x="3342" y="6120"/>
                  </a:lnTo>
                  <a:lnTo>
                    <a:pt x="3324" y="6114"/>
                  </a:lnTo>
                  <a:lnTo>
                    <a:pt x="3312" y="6108"/>
                  </a:lnTo>
                  <a:lnTo>
                    <a:pt x="3300" y="6102"/>
                  </a:lnTo>
                  <a:lnTo>
                    <a:pt x="3306" y="6114"/>
                  </a:lnTo>
                  <a:lnTo>
                    <a:pt x="3294" y="6120"/>
                  </a:lnTo>
                  <a:lnTo>
                    <a:pt x="3288" y="6132"/>
                  </a:lnTo>
                  <a:lnTo>
                    <a:pt x="3282" y="6144"/>
                  </a:lnTo>
                  <a:lnTo>
                    <a:pt x="3276" y="6156"/>
                  </a:lnTo>
                  <a:lnTo>
                    <a:pt x="3270" y="6150"/>
                  </a:lnTo>
                  <a:lnTo>
                    <a:pt x="3264" y="6144"/>
                  </a:lnTo>
                  <a:lnTo>
                    <a:pt x="3252" y="6144"/>
                  </a:lnTo>
                  <a:lnTo>
                    <a:pt x="3234" y="6144"/>
                  </a:lnTo>
                  <a:lnTo>
                    <a:pt x="3222" y="6138"/>
                  </a:lnTo>
                  <a:lnTo>
                    <a:pt x="3216" y="6138"/>
                  </a:lnTo>
                  <a:lnTo>
                    <a:pt x="3210" y="6138"/>
                  </a:lnTo>
                  <a:lnTo>
                    <a:pt x="3198" y="6150"/>
                  </a:lnTo>
                  <a:lnTo>
                    <a:pt x="3186" y="6150"/>
                  </a:lnTo>
                  <a:lnTo>
                    <a:pt x="3168" y="6150"/>
                  </a:lnTo>
                  <a:lnTo>
                    <a:pt x="3168" y="6144"/>
                  </a:lnTo>
                  <a:lnTo>
                    <a:pt x="3156" y="6144"/>
                  </a:lnTo>
                  <a:lnTo>
                    <a:pt x="3150" y="6144"/>
                  </a:lnTo>
                  <a:lnTo>
                    <a:pt x="3144" y="6144"/>
                  </a:lnTo>
                  <a:lnTo>
                    <a:pt x="3138" y="6138"/>
                  </a:lnTo>
                  <a:lnTo>
                    <a:pt x="3126" y="6120"/>
                  </a:lnTo>
                  <a:lnTo>
                    <a:pt x="3108" y="6114"/>
                  </a:lnTo>
                  <a:lnTo>
                    <a:pt x="3108" y="6108"/>
                  </a:lnTo>
                  <a:lnTo>
                    <a:pt x="3090" y="6108"/>
                  </a:lnTo>
                  <a:lnTo>
                    <a:pt x="3084" y="6108"/>
                  </a:lnTo>
                  <a:lnTo>
                    <a:pt x="3078" y="6102"/>
                  </a:lnTo>
                  <a:lnTo>
                    <a:pt x="3066" y="6102"/>
                  </a:lnTo>
                  <a:lnTo>
                    <a:pt x="3060" y="6096"/>
                  </a:lnTo>
                  <a:lnTo>
                    <a:pt x="3054" y="6102"/>
                  </a:lnTo>
                  <a:lnTo>
                    <a:pt x="3054" y="6108"/>
                  </a:lnTo>
                  <a:lnTo>
                    <a:pt x="3042" y="6120"/>
                  </a:lnTo>
                  <a:lnTo>
                    <a:pt x="3030" y="6126"/>
                  </a:lnTo>
                  <a:lnTo>
                    <a:pt x="3018" y="6120"/>
                  </a:lnTo>
                  <a:lnTo>
                    <a:pt x="3012" y="6114"/>
                  </a:lnTo>
                  <a:lnTo>
                    <a:pt x="3006" y="6108"/>
                  </a:lnTo>
                  <a:lnTo>
                    <a:pt x="2988" y="6108"/>
                  </a:lnTo>
                  <a:lnTo>
                    <a:pt x="2970" y="6108"/>
                  </a:lnTo>
                  <a:lnTo>
                    <a:pt x="2958" y="6132"/>
                  </a:lnTo>
                  <a:lnTo>
                    <a:pt x="2946" y="6150"/>
                  </a:lnTo>
                  <a:lnTo>
                    <a:pt x="2934" y="6162"/>
                  </a:lnTo>
                  <a:lnTo>
                    <a:pt x="2928" y="6162"/>
                  </a:lnTo>
                  <a:lnTo>
                    <a:pt x="2910" y="6162"/>
                  </a:lnTo>
                  <a:lnTo>
                    <a:pt x="2892" y="6156"/>
                  </a:lnTo>
                  <a:lnTo>
                    <a:pt x="2886" y="6156"/>
                  </a:lnTo>
                  <a:lnTo>
                    <a:pt x="2862" y="6156"/>
                  </a:lnTo>
                  <a:lnTo>
                    <a:pt x="2856" y="6150"/>
                  </a:lnTo>
                  <a:lnTo>
                    <a:pt x="2844" y="6150"/>
                  </a:lnTo>
                  <a:lnTo>
                    <a:pt x="2832" y="6150"/>
                  </a:lnTo>
                  <a:lnTo>
                    <a:pt x="2826" y="6144"/>
                  </a:lnTo>
                  <a:lnTo>
                    <a:pt x="2802" y="6126"/>
                  </a:lnTo>
                  <a:lnTo>
                    <a:pt x="2790" y="6120"/>
                  </a:lnTo>
                  <a:lnTo>
                    <a:pt x="2784" y="6120"/>
                  </a:lnTo>
                  <a:lnTo>
                    <a:pt x="2772" y="6126"/>
                  </a:lnTo>
                  <a:lnTo>
                    <a:pt x="2760" y="6132"/>
                  </a:lnTo>
                  <a:lnTo>
                    <a:pt x="2742" y="6126"/>
                  </a:lnTo>
                  <a:lnTo>
                    <a:pt x="2730" y="6126"/>
                  </a:lnTo>
                  <a:lnTo>
                    <a:pt x="2712" y="6138"/>
                  </a:lnTo>
                  <a:lnTo>
                    <a:pt x="2706" y="6144"/>
                  </a:lnTo>
                  <a:lnTo>
                    <a:pt x="2688" y="6144"/>
                  </a:lnTo>
                  <a:lnTo>
                    <a:pt x="2670" y="6138"/>
                  </a:lnTo>
                  <a:lnTo>
                    <a:pt x="2664" y="6132"/>
                  </a:lnTo>
                  <a:lnTo>
                    <a:pt x="2646" y="6144"/>
                  </a:lnTo>
                  <a:lnTo>
                    <a:pt x="2628" y="6162"/>
                  </a:lnTo>
                  <a:lnTo>
                    <a:pt x="2622" y="6174"/>
                  </a:lnTo>
                  <a:lnTo>
                    <a:pt x="2622" y="6192"/>
                  </a:lnTo>
                  <a:lnTo>
                    <a:pt x="2610" y="6192"/>
                  </a:lnTo>
                  <a:lnTo>
                    <a:pt x="2598" y="6186"/>
                  </a:lnTo>
                  <a:lnTo>
                    <a:pt x="2598" y="6180"/>
                  </a:lnTo>
                  <a:lnTo>
                    <a:pt x="2598" y="6168"/>
                  </a:lnTo>
                  <a:lnTo>
                    <a:pt x="2592" y="6162"/>
                  </a:lnTo>
                  <a:lnTo>
                    <a:pt x="2580" y="6156"/>
                  </a:lnTo>
                  <a:lnTo>
                    <a:pt x="2568" y="6150"/>
                  </a:lnTo>
                  <a:lnTo>
                    <a:pt x="2562" y="6138"/>
                  </a:lnTo>
                  <a:lnTo>
                    <a:pt x="2556" y="6120"/>
                  </a:lnTo>
                  <a:lnTo>
                    <a:pt x="2550" y="6114"/>
                  </a:lnTo>
                  <a:lnTo>
                    <a:pt x="2538" y="6120"/>
                  </a:lnTo>
                  <a:lnTo>
                    <a:pt x="2532" y="6126"/>
                  </a:lnTo>
                  <a:lnTo>
                    <a:pt x="2526" y="6126"/>
                  </a:lnTo>
                  <a:lnTo>
                    <a:pt x="2502" y="6120"/>
                  </a:lnTo>
                  <a:lnTo>
                    <a:pt x="2490" y="6108"/>
                  </a:lnTo>
                  <a:lnTo>
                    <a:pt x="2478" y="6108"/>
                  </a:lnTo>
                  <a:lnTo>
                    <a:pt x="2466" y="6120"/>
                  </a:lnTo>
                  <a:lnTo>
                    <a:pt x="2454" y="6120"/>
                  </a:lnTo>
                  <a:lnTo>
                    <a:pt x="2442" y="6102"/>
                  </a:lnTo>
                  <a:lnTo>
                    <a:pt x="2436" y="6090"/>
                  </a:lnTo>
                  <a:lnTo>
                    <a:pt x="2424" y="6090"/>
                  </a:lnTo>
                  <a:lnTo>
                    <a:pt x="2406" y="6090"/>
                  </a:lnTo>
                  <a:lnTo>
                    <a:pt x="2388" y="6090"/>
                  </a:lnTo>
                  <a:lnTo>
                    <a:pt x="2370" y="6078"/>
                  </a:lnTo>
                  <a:lnTo>
                    <a:pt x="2352" y="6078"/>
                  </a:lnTo>
                  <a:lnTo>
                    <a:pt x="2340" y="6084"/>
                  </a:lnTo>
                  <a:lnTo>
                    <a:pt x="2328" y="6084"/>
                  </a:lnTo>
                  <a:lnTo>
                    <a:pt x="2322" y="6084"/>
                  </a:lnTo>
                  <a:lnTo>
                    <a:pt x="2310" y="6078"/>
                  </a:lnTo>
                  <a:lnTo>
                    <a:pt x="2304" y="6066"/>
                  </a:lnTo>
                  <a:lnTo>
                    <a:pt x="2298" y="6042"/>
                  </a:lnTo>
                  <a:lnTo>
                    <a:pt x="2286" y="6012"/>
                  </a:lnTo>
                  <a:lnTo>
                    <a:pt x="2286" y="6006"/>
                  </a:lnTo>
                  <a:lnTo>
                    <a:pt x="2280" y="5994"/>
                  </a:lnTo>
                  <a:lnTo>
                    <a:pt x="2274" y="5994"/>
                  </a:lnTo>
                  <a:lnTo>
                    <a:pt x="2256" y="5964"/>
                  </a:lnTo>
                  <a:lnTo>
                    <a:pt x="2232" y="5940"/>
                  </a:lnTo>
                  <a:lnTo>
                    <a:pt x="2220" y="5940"/>
                  </a:lnTo>
                  <a:lnTo>
                    <a:pt x="2214" y="5934"/>
                  </a:lnTo>
                  <a:lnTo>
                    <a:pt x="2202" y="5922"/>
                  </a:lnTo>
                  <a:lnTo>
                    <a:pt x="2196" y="5916"/>
                  </a:lnTo>
                  <a:lnTo>
                    <a:pt x="2184" y="5910"/>
                  </a:lnTo>
                  <a:lnTo>
                    <a:pt x="2160" y="5898"/>
                  </a:lnTo>
                  <a:lnTo>
                    <a:pt x="2148" y="5904"/>
                  </a:lnTo>
                  <a:lnTo>
                    <a:pt x="2130" y="5910"/>
                  </a:lnTo>
                  <a:lnTo>
                    <a:pt x="2118" y="5916"/>
                  </a:lnTo>
                  <a:lnTo>
                    <a:pt x="2106" y="5910"/>
                  </a:lnTo>
                  <a:lnTo>
                    <a:pt x="2088" y="5904"/>
                  </a:lnTo>
                  <a:lnTo>
                    <a:pt x="2082" y="5904"/>
                  </a:lnTo>
                  <a:lnTo>
                    <a:pt x="2058" y="5898"/>
                  </a:lnTo>
                  <a:lnTo>
                    <a:pt x="2028" y="5898"/>
                  </a:lnTo>
                  <a:lnTo>
                    <a:pt x="2022" y="5898"/>
                  </a:lnTo>
                  <a:lnTo>
                    <a:pt x="2016" y="5898"/>
                  </a:lnTo>
                  <a:lnTo>
                    <a:pt x="2016" y="5892"/>
                  </a:lnTo>
                  <a:lnTo>
                    <a:pt x="2010" y="5892"/>
                  </a:lnTo>
                  <a:lnTo>
                    <a:pt x="1998" y="5892"/>
                  </a:lnTo>
                  <a:lnTo>
                    <a:pt x="1980" y="5898"/>
                  </a:lnTo>
                  <a:lnTo>
                    <a:pt x="1974" y="5904"/>
                  </a:lnTo>
                  <a:lnTo>
                    <a:pt x="1980" y="5910"/>
                  </a:lnTo>
                  <a:lnTo>
                    <a:pt x="1980" y="5916"/>
                  </a:lnTo>
                  <a:lnTo>
                    <a:pt x="1992" y="5928"/>
                  </a:lnTo>
                  <a:lnTo>
                    <a:pt x="1986" y="5934"/>
                  </a:lnTo>
                  <a:lnTo>
                    <a:pt x="1974" y="5940"/>
                  </a:lnTo>
                  <a:lnTo>
                    <a:pt x="1956" y="5934"/>
                  </a:lnTo>
                  <a:lnTo>
                    <a:pt x="1956" y="5922"/>
                  </a:lnTo>
                  <a:lnTo>
                    <a:pt x="1950" y="5916"/>
                  </a:lnTo>
                  <a:lnTo>
                    <a:pt x="1944" y="5928"/>
                  </a:lnTo>
                  <a:lnTo>
                    <a:pt x="1938" y="5940"/>
                  </a:lnTo>
                  <a:lnTo>
                    <a:pt x="1926" y="5940"/>
                  </a:lnTo>
                  <a:lnTo>
                    <a:pt x="1920" y="5928"/>
                  </a:lnTo>
                  <a:lnTo>
                    <a:pt x="1920" y="5916"/>
                  </a:lnTo>
                  <a:lnTo>
                    <a:pt x="1920" y="5910"/>
                  </a:lnTo>
                  <a:lnTo>
                    <a:pt x="1914" y="5904"/>
                  </a:lnTo>
                  <a:lnTo>
                    <a:pt x="1908" y="5904"/>
                  </a:lnTo>
                  <a:lnTo>
                    <a:pt x="1896" y="5910"/>
                  </a:lnTo>
                  <a:lnTo>
                    <a:pt x="1884" y="5922"/>
                  </a:lnTo>
                  <a:lnTo>
                    <a:pt x="1866" y="5922"/>
                  </a:lnTo>
                  <a:lnTo>
                    <a:pt x="1860" y="5922"/>
                  </a:lnTo>
                  <a:lnTo>
                    <a:pt x="1854" y="5922"/>
                  </a:lnTo>
                  <a:lnTo>
                    <a:pt x="1854" y="5916"/>
                  </a:lnTo>
                  <a:lnTo>
                    <a:pt x="1848" y="5910"/>
                  </a:lnTo>
                  <a:lnTo>
                    <a:pt x="1848" y="5892"/>
                  </a:lnTo>
                  <a:lnTo>
                    <a:pt x="1854" y="5886"/>
                  </a:lnTo>
                  <a:lnTo>
                    <a:pt x="1860" y="5886"/>
                  </a:lnTo>
                  <a:lnTo>
                    <a:pt x="1860" y="5892"/>
                  </a:lnTo>
                  <a:lnTo>
                    <a:pt x="1866" y="5892"/>
                  </a:lnTo>
                  <a:lnTo>
                    <a:pt x="1866" y="5898"/>
                  </a:lnTo>
                  <a:lnTo>
                    <a:pt x="1872" y="5892"/>
                  </a:lnTo>
                  <a:lnTo>
                    <a:pt x="1878" y="5886"/>
                  </a:lnTo>
                  <a:lnTo>
                    <a:pt x="1890" y="5886"/>
                  </a:lnTo>
                  <a:lnTo>
                    <a:pt x="1902" y="5892"/>
                  </a:lnTo>
                  <a:lnTo>
                    <a:pt x="1914" y="5886"/>
                  </a:lnTo>
                  <a:lnTo>
                    <a:pt x="1920" y="5886"/>
                  </a:lnTo>
                  <a:lnTo>
                    <a:pt x="1920" y="5880"/>
                  </a:lnTo>
                  <a:lnTo>
                    <a:pt x="1920" y="5874"/>
                  </a:lnTo>
                  <a:lnTo>
                    <a:pt x="1920" y="5868"/>
                  </a:lnTo>
                  <a:lnTo>
                    <a:pt x="1908" y="5874"/>
                  </a:lnTo>
                  <a:lnTo>
                    <a:pt x="1902" y="5880"/>
                  </a:lnTo>
                  <a:lnTo>
                    <a:pt x="1890" y="5880"/>
                  </a:lnTo>
                  <a:lnTo>
                    <a:pt x="1878" y="5874"/>
                  </a:lnTo>
                  <a:lnTo>
                    <a:pt x="1878" y="5868"/>
                  </a:lnTo>
                  <a:lnTo>
                    <a:pt x="1890" y="5868"/>
                  </a:lnTo>
                  <a:lnTo>
                    <a:pt x="1896" y="5862"/>
                  </a:lnTo>
                  <a:lnTo>
                    <a:pt x="1896" y="5856"/>
                  </a:lnTo>
                  <a:lnTo>
                    <a:pt x="1884" y="5856"/>
                  </a:lnTo>
                  <a:lnTo>
                    <a:pt x="1896" y="5838"/>
                  </a:lnTo>
                  <a:lnTo>
                    <a:pt x="1896" y="5832"/>
                  </a:lnTo>
                  <a:lnTo>
                    <a:pt x="1890" y="5820"/>
                  </a:lnTo>
                  <a:lnTo>
                    <a:pt x="1878" y="5820"/>
                  </a:lnTo>
                  <a:lnTo>
                    <a:pt x="1878" y="5826"/>
                  </a:lnTo>
                  <a:lnTo>
                    <a:pt x="1878" y="5832"/>
                  </a:lnTo>
                  <a:lnTo>
                    <a:pt x="1872" y="5850"/>
                  </a:lnTo>
                  <a:lnTo>
                    <a:pt x="1866" y="5856"/>
                  </a:lnTo>
                  <a:lnTo>
                    <a:pt x="1860" y="5850"/>
                  </a:lnTo>
                  <a:lnTo>
                    <a:pt x="1848" y="5844"/>
                  </a:lnTo>
                  <a:lnTo>
                    <a:pt x="1842" y="5820"/>
                  </a:lnTo>
                  <a:lnTo>
                    <a:pt x="1842" y="5814"/>
                  </a:lnTo>
                  <a:lnTo>
                    <a:pt x="1830" y="5820"/>
                  </a:lnTo>
                  <a:lnTo>
                    <a:pt x="1824" y="5832"/>
                  </a:lnTo>
                  <a:lnTo>
                    <a:pt x="1830" y="5832"/>
                  </a:lnTo>
                  <a:lnTo>
                    <a:pt x="1842" y="5838"/>
                  </a:lnTo>
                  <a:lnTo>
                    <a:pt x="1836" y="5856"/>
                  </a:lnTo>
                  <a:lnTo>
                    <a:pt x="1836" y="5862"/>
                  </a:lnTo>
                  <a:lnTo>
                    <a:pt x="1836" y="5868"/>
                  </a:lnTo>
                  <a:lnTo>
                    <a:pt x="1830" y="5874"/>
                  </a:lnTo>
                  <a:lnTo>
                    <a:pt x="1818" y="5874"/>
                  </a:lnTo>
                  <a:lnTo>
                    <a:pt x="1818" y="5880"/>
                  </a:lnTo>
                  <a:lnTo>
                    <a:pt x="1806" y="5880"/>
                  </a:lnTo>
                  <a:lnTo>
                    <a:pt x="1800" y="5868"/>
                  </a:lnTo>
                  <a:lnTo>
                    <a:pt x="1806" y="5862"/>
                  </a:lnTo>
                  <a:lnTo>
                    <a:pt x="1812" y="5856"/>
                  </a:lnTo>
                  <a:lnTo>
                    <a:pt x="1812" y="5850"/>
                  </a:lnTo>
                  <a:lnTo>
                    <a:pt x="1818" y="5844"/>
                  </a:lnTo>
                  <a:lnTo>
                    <a:pt x="1812" y="5832"/>
                  </a:lnTo>
                  <a:lnTo>
                    <a:pt x="1806" y="5838"/>
                  </a:lnTo>
                  <a:lnTo>
                    <a:pt x="1800" y="5850"/>
                  </a:lnTo>
                  <a:lnTo>
                    <a:pt x="1794" y="5850"/>
                  </a:lnTo>
                  <a:lnTo>
                    <a:pt x="1782" y="5844"/>
                  </a:lnTo>
                  <a:lnTo>
                    <a:pt x="1776" y="5838"/>
                  </a:lnTo>
                  <a:lnTo>
                    <a:pt x="1782" y="5832"/>
                  </a:lnTo>
                  <a:lnTo>
                    <a:pt x="1782" y="5826"/>
                  </a:lnTo>
                  <a:lnTo>
                    <a:pt x="1788" y="5826"/>
                  </a:lnTo>
                  <a:lnTo>
                    <a:pt x="1794" y="5820"/>
                  </a:lnTo>
                  <a:lnTo>
                    <a:pt x="1794" y="5814"/>
                  </a:lnTo>
                  <a:lnTo>
                    <a:pt x="1794" y="5808"/>
                  </a:lnTo>
                  <a:lnTo>
                    <a:pt x="1788" y="5802"/>
                  </a:lnTo>
                  <a:lnTo>
                    <a:pt x="1770" y="5814"/>
                  </a:lnTo>
                  <a:lnTo>
                    <a:pt x="1758" y="5814"/>
                  </a:lnTo>
                  <a:lnTo>
                    <a:pt x="1746" y="5802"/>
                  </a:lnTo>
                  <a:lnTo>
                    <a:pt x="1740" y="5802"/>
                  </a:lnTo>
                  <a:lnTo>
                    <a:pt x="1734" y="5802"/>
                  </a:lnTo>
                  <a:lnTo>
                    <a:pt x="1722" y="5796"/>
                  </a:lnTo>
                  <a:lnTo>
                    <a:pt x="1728" y="5790"/>
                  </a:lnTo>
                  <a:lnTo>
                    <a:pt x="1740" y="5790"/>
                  </a:lnTo>
                  <a:lnTo>
                    <a:pt x="1740" y="5784"/>
                  </a:lnTo>
                  <a:lnTo>
                    <a:pt x="1746" y="5778"/>
                  </a:lnTo>
                  <a:lnTo>
                    <a:pt x="1758" y="5772"/>
                  </a:lnTo>
                  <a:lnTo>
                    <a:pt x="1770" y="5766"/>
                  </a:lnTo>
                  <a:lnTo>
                    <a:pt x="1776" y="5754"/>
                  </a:lnTo>
                  <a:lnTo>
                    <a:pt x="1770" y="5754"/>
                  </a:lnTo>
                  <a:lnTo>
                    <a:pt x="1770" y="5748"/>
                  </a:lnTo>
                  <a:lnTo>
                    <a:pt x="1752" y="5754"/>
                  </a:lnTo>
                  <a:lnTo>
                    <a:pt x="1746" y="5754"/>
                  </a:lnTo>
                  <a:lnTo>
                    <a:pt x="1734" y="5754"/>
                  </a:lnTo>
                  <a:lnTo>
                    <a:pt x="1728" y="5754"/>
                  </a:lnTo>
                  <a:lnTo>
                    <a:pt x="1722" y="5748"/>
                  </a:lnTo>
                  <a:lnTo>
                    <a:pt x="1722" y="5736"/>
                  </a:lnTo>
                  <a:lnTo>
                    <a:pt x="1722" y="5724"/>
                  </a:lnTo>
                  <a:lnTo>
                    <a:pt x="1734" y="5712"/>
                  </a:lnTo>
                  <a:lnTo>
                    <a:pt x="1734" y="5706"/>
                  </a:lnTo>
                  <a:lnTo>
                    <a:pt x="1710" y="5706"/>
                  </a:lnTo>
                  <a:lnTo>
                    <a:pt x="1686" y="5706"/>
                  </a:lnTo>
                  <a:lnTo>
                    <a:pt x="1680" y="5700"/>
                  </a:lnTo>
                  <a:lnTo>
                    <a:pt x="1680" y="5694"/>
                  </a:lnTo>
                  <a:lnTo>
                    <a:pt x="1686" y="5694"/>
                  </a:lnTo>
                  <a:lnTo>
                    <a:pt x="1692" y="5700"/>
                  </a:lnTo>
                  <a:lnTo>
                    <a:pt x="1698" y="5700"/>
                  </a:lnTo>
                  <a:lnTo>
                    <a:pt x="1704" y="5694"/>
                  </a:lnTo>
                  <a:lnTo>
                    <a:pt x="1698" y="5694"/>
                  </a:lnTo>
                  <a:lnTo>
                    <a:pt x="1692" y="5682"/>
                  </a:lnTo>
                  <a:lnTo>
                    <a:pt x="1692" y="5676"/>
                  </a:lnTo>
                  <a:lnTo>
                    <a:pt x="1692" y="5670"/>
                  </a:lnTo>
                  <a:lnTo>
                    <a:pt x="1686" y="5670"/>
                  </a:lnTo>
                  <a:lnTo>
                    <a:pt x="1680" y="5664"/>
                  </a:lnTo>
                  <a:lnTo>
                    <a:pt x="1668" y="5664"/>
                  </a:lnTo>
                  <a:lnTo>
                    <a:pt x="1656" y="5670"/>
                  </a:lnTo>
                  <a:lnTo>
                    <a:pt x="1638" y="5676"/>
                  </a:lnTo>
                  <a:lnTo>
                    <a:pt x="1632" y="5676"/>
                  </a:lnTo>
                  <a:lnTo>
                    <a:pt x="1638" y="5664"/>
                  </a:lnTo>
                  <a:lnTo>
                    <a:pt x="1650" y="5664"/>
                  </a:lnTo>
                  <a:lnTo>
                    <a:pt x="1656" y="5658"/>
                  </a:lnTo>
                  <a:lnTo>
                    <a:pt x="1662" y="5640"/>
                  </a:lnTo>
                  <a:lnTo>
                    <a:pt x="1668" y="5634"/>
                  </a:lnTo>
                  <a:lnTo>
                    <a:pt x="1674" y="5634"/>
                  </a:lnTo>
                  <a:lnTo>
                    <a:pt x="1668" y="5628"/>
                  </a:lnTo>
                  <a:lnTo>
                    <a:pt x="1662" y="5628"/>
                  </a:lnTo>
                  <a:lnTo>
                    <a:pt x="1650" y="5628"/>
                  </a:lnTo>
                  <a:lnTo>
                    <a:pt x="1644" y="5634"/>
                  </a:lnTo>
                  <a:lnTo>
                    <a:pt x="1644" y="5628"/>
                  </a:lnTo>
                  <a:lnTo>
                    <a:pt x="1650" y="5622"/>
                  </a:lnTo>
                  <a:lnTo>
                    <a:pt x="1650" y="5616"/>
                  </a:lnTo>
                  <a:lnTo>
                    <a:pt x="1650" y="5610"/>
                  </a:lnTo>
                  <a:lnTo>
                    <a:pt x="1644" y="5604"/>
                  </a:lnTo>
                  <a:lnTo>
                    <a:pt x="1638" y="5604"/>
                  </a:lnTo>
                  <a:lnTo>
                    <a:pt x="1638" y="5610"/>
                  </a:lnTo>
                  <a:lnTo>
                    <a:pt x="1632" y="5610"/>
                  </a:lnTo>
                  <a:lnTo>
                    <a:pt x="1626" y="5610"/>
                  </a:lnTo>
                  <a:lnTo>
                    <a:pt x="1614" y="5616"/>
                  </a:lnTo>
                  <a:lnTo>
                    <a:pt x="1602" y="5622"/>
                  </a:lnTo>
                  <a:lnTo>
                    <a:pt x="1590" y="5616"/>
                  </a:lnTo>
                  <a:lnTo>
                    <a:pt x="1596" y="5610"/>
                  </a:lnTo>
                  <a:lnTo>
                    <a:pt x="1596" y="5604"/>
                  </a:lnTo>
                  <a:lnTo>
                    <a:pt x="1596" y="5598"/>
                  </a:lnTo>
                  <a:lnTo>
                    <a:pt x="1590" y="5586"/>
                  </a:lnTo>
                  <a:lnTo>
                    <a:pt x="1590" y="5574"/>
                  </a:lnTo>
                  <a:lnTo>
                    <a:pt x="1596" y="5556"/>
                  </a:lnTo>
                  <a:lnTo>
                    <a:pt x="1590" y="5538"/>
                  </a:lnTo>
                  <a:lnTo>
                    <a:pt x="1572" y="5526"/>
                  </a:lnTo>
                  <a:lnTo>
                    <a:pt x="1566" y="5526"/>
                  </a:lnTo>
                  <a:lnTo>
                    <a:pt x="1554" y="5520"/>
                  </a:lnTo>
                  <a:lnTo>
                    <a:pt x="1554" y="5508"/>
                  </a:lnTo>
                  <a:lnTo>
                    <a:pt x="1560" y="5496"/>
                  </a:lnTo>
                  <a:lnTo>
                    <a:pt x="1548" y="5496"/>
                  </a:lnTo>
                  <a:lnTo>
                    <a:pt x="1530" y="5496"/>
                  </a:lnTo>
                  <a:lnTo>
                    <a:pt x="1518" y="5502"/>
                  </a:lnTo>
                  <a:lnTo>
                    <a:pt x="1506" y="5502"/>
                  </a:lnTo>
                  <a:lnTo>
                    <a:pt x="1506" y="5484"/>
                  </a:lnTo>
                  <a:lnTo>
                    <a:pt x="1494" y="5490"/>
                  </a:lnTo>
                  <a:lnTo>
                    <a:pt x="1476" y="5484"/>
                  </a:lnTo>
                  <a:lnTo>
                    <a:pt x="1476" y="5472"/>
                  </a:lnTo>
                  <a:lnTo>
                    <a:pt x="1464" y="5466"/>
                  </a:lnTo>
                  <a:lnTo>
                    <a:pt x="1458" y="5472"/>
                  </a:lnTo>
                  <a:lnTo>
                    <a:pt x="1434" y="5466"/>
                  </a:lnTo>
                  <a:lnTo>
                    <a:pt x="1428" y="5454"/>
                  </a:lnTo>
                  <a:lnTo>
                    <a:pt x="1422" y="5448"/>
                  </a:lnTo>
                  <a:lnTo>
                    <a:pt x="1392" y="5436"/>
                  </a:lnTo>
                  <a:lnTo>
                    <a:pt x="1338" y="5412"/>
                  </a:lnTo>
                  <a:lnTo>
                    <a:pt x="1326" y="5418"/>
                  </a:lnTo>
                  <a:lnTo>
                    <a:pt x="1320" y="5412"/>
                  </a:lnTo>
                  <a:lnTo>
                    <a:pt x="1314" y="5412"/>
                  </a:lnTo>
                  <a:lnTo>
                    <a:pt x="1308" y="5418"/>
                  </a:lnTo>
                  <a:lnTo>
                    <a:pt x="1302" y="5418"/>
                  </a:lnTo>
                  <a:lnTo>
                    <a:pt x="1296" y="5418"/>
                  </a:lnTo>
                  <a:lnTo>
                    <a:pt x="1290" y="5406"/>
                  </a:lnTo>
                  <a:lnTo>
                    <a:pt x="1290" y="5400"/>
                  </a:lnTo>
                  <a:lnTo>
                    <a:pt x="1290" y="5394"/>
                  </a:lnTo>
                  <a:lnTo>
                    <a:pt x="1296" y="5388"/>
                  </a:lnTo>
                  <a:lnTo>
                    <a:pt x="1290" y="5382"/>
                  </a:lnTo>
                  <a:lnTo>
                    <a:pt x="1278" y="5388"/>
                  </a:lnTo>
                  <a:lnTo>
                    <a:pt x="1266" y="5388"/>
                  </a:lnTo>
                  <a:lnTo>
                    <a:pt x="1254" y="5382"/>
                  </a:lnTo>
                  <a:lnTo>
                    <a:pt x="1248" y="5376"/>
                  </a:lnTo>
                  <a:lnTo>
                    <a:pt x="1236" y="5370"/>
                  </a:lnTo>
                  <a:lnTo>
                    <a:pt x="1236" y="5364"/>
                  </a:lnTo>
                  <a:lnTo>
                    <a:pt x="1218" y="5352"/>
                  </a:lnTo>
                  <a:lnTo>
                    <a:pt x="1206" y="5352"/>
                  </a:lnTo>
                  <a:lnTo>
                    <a:pt x="1194" y="5340"/>
                  </a:lnTo>
                  <a:lnTo>
                    <a:pt x="1182" y="5328"/>
                  </a:lnTo>
                  <a:lnTo>
                    <a:pt x="1176" y="5322"/>
                  </a:lnTo>
                  <a:lnTo>
                    <a:pt x="1170" y="5322"/>
                  </a:lnTo>
                  <a:lnTo>
                    <a:pt x="1164" y="5310"/>
                  </a:lnTo>
                  <a:lnTo>
                    <a:pt x="1164" y="5304"/>
                  </a:lnTo>
                  <a:lnTo>
                    <a:pt x="1164" y="5298"/>
                  </a:lnTo>
                  <a:lnTo>
                    <a:pt x="1158" y="5280"/>
                  </a:lnTo>
                  <a:lnTo>
                    <a:pt x="1152" y="5274"/>
                  </a:lnTo>
                  <a:lnTo>
                    <a:pt x="1146" y="5262"/>
                  </a:lnTo>
                  <a:lnTo>
                    <a:pt x="1146" y="5244"/>
                  </a:lnTo>
                  <a:lnTo>
                    <a:pt x="1140" y="5238"/>
                  </a:lnTo>
                  <a:lnTo>
                    <a:pt x="1140" y="5226"/>
                  </a:lnTo>
                  <a:lnTo>
                    <a:pt x="1146" y="5214"/>
                  </a:lnTo>
                  <a:lnTo>
                    <a:pt x="1134" y="5208"/>
                  </a:lnTo>
                  <a:lnTo>
                    <a:pt x="1134" y="5202"/>
                  </a:lnTo>
                  <a:lnTo>
                    <a:pt x="1128" y="5196"/>
                  </a:lnTo>
                  <a:lnTo>
                    <a:pt x="1122" y="5196"/>
                  </a:lnTo>
                  <a:lnTo>
                    <a:pt x="1116" y="5184"/>
                  </a:lnTo>
                  <a:lnTo>
                    <a:pt x="1122" y="5178"/>
                  </a:lnTo>
                  <a:lnTo>
                    <a:pt x="1122" y="5172"/>
                  </a:lnTo>
                  <a:lnTo>
                    <a:pt x="1110" y="5178"/>
                  </a:lnTo>
                  <a:lnTo>
                    <a:pt x="1104" y="5178"/>
                  </a:lnTo>
                  <a:lnTo>
                    <a:pt x="1098" y="5172"/>
                  </a:lnTo>
                  <a:lnTo>
                    <a:pt x="1098" y="5166"/>
                  </a:lnTo>
                  <a:lnTo>
                    <a:pt x="1092" y="5160"/>
                  </a:lnTo>
                  <a:lnTo>
                    <a:pt x="1086" y="5160"/>
                  </a:lnTo>
                  <a:lnTo>
                    <a:pt x="1080" y="5160"/>
                  </a:lnTo>
                  <a:lnTo>
                    <a:pt x="1080" y="5154"/>
                  </a:lnTo>
                  <a:lnTo>
                    <a:pt x="1080" y="5142"/>
                  </a:lnTo>
                  <a:lnTo>
                    <a:pt x="1074" y="5136"/>
                  </a:lnTo>
                  <a:lnTo>
                    <a:pt x="1068" y="5142"/>
                  </a:lnTo>
                  <a:lnTo>
                    <a:pt x="1062" y="5148"/>
                  </a:lnTo>
                  <a:lnTo>
                    <a:pt x="1056" y="5148"/>
                  </a:lnTo>
                  <a:lnTo>
                    <a:pt x="1044" y="5142"/>
                  </a:lnTo>
                  <a:lnTo>
                    <a:pt x="1038" y="5136"/>
                  </a:lnTo>
                  <a:lnTo>
                    <a:pt x="1032" y="5136"/>
                  </a:lnTo>
                  <a:lnTo>
                    <a:pt x="1026" y="5130"/>
                  </a:lnTo>
                  <a:lnTo>
                    <a:pt x="1020" y="5124"/>
                  </a:lnTo>
                  <a:lnTo>
                    <a:pt x="1008" y="5130"/>
                  </a:lnTo>
                  <a:lnTo>
                    <a:pt x="1002" y="5130"/>
                  </a:lnTo>
                  <a:lnTo>
                    <a:pt x="996" y="5136"/>
                  </a:lnTo>
                  <a:lnTo>
                    <a:pt x="990" y="5136"/>
                  </a:lnTo>
                  <a:lnTo>
                    <a:pt x="990" y="5130"/>
                  </a:lnTo>
                  <a:lnTo>
                    <a:pt x="984" y="5124"/>
                  </a:lnTo>
                  <a:lnTo>
                    <a:pt x="978" y="5136"/>
                  </a:lnTo>
                  <a:lnTo>
                    <a:pt x="972" y="5142"/>
                  </a:lnTo>
                  <a:lnTo>
                    <a:pt x="972" y="5136"/>
                  </a:lnTo>
                  <a:lnTo>
                    <a:pt x="966" y="5136"/>
                  </a:lnTo>
                  <a:lnTo>
                    <a:pt x="966" y="5130"/>
                  </a:lnTo>
                  <a:lnTo>
                    <a:pt x="966" y="5124"/>
                  </a:lnTo>
                  <a:lnTo>
                    <a:pt x="960" y="5124"/>
                  </a:lnTo>
                  <a:lnTo>
                    <a:pt x="954" y="5124"/>
                  </a:lnTo>
                  <a:lnTo>
                    <a:pt x="948" y="5124"/>
                  </a:lnTo>
                  <a:lnTo>
                    <a:pt x="942" y="5130"/>
                  </a:lnTo>
                  <a:lnTo>
                    <a:pt x="936" y="5124"/>
                  </a:lnTo>
                  <a:lnTo>
                    <a:pt x="936" y="5118"/>
                  </a:lnTo>
                  <a:lnTo>
                    <a:pt x="936" y="5112"/>
                  </a:lnTo>
                  <a:lnTo>
                    <a:pt x="936" y="5106"/>
                  </a:lnTo>
                  <a:lnTo>
                    <a:pt x="936" y="5100"/>
                  </a:lnTo>
                  <a:lnTo>
                    <a:pt x="930" y="5100"/>
                  </a:lnTo>
                  <a:lnTo>
                    <a:pt x="924" y="5094"/>
                  </a:lnTo>
                  <a:lnTo>
                    <a:pt x="918" y="5100"/>
                  </a:lnTo>
                  <a:lnTo>
                    <a:pt x="918" y="5112"/>
                  </a:lnTo>
                  <a:lnTo>
                    <a:pt x="912" y="5118"/>
                  </a:lnTo>
                  <a:lnTo>
                    <a:pt x="900" y="5106"/>
                  </a:lnTo>
                  <a:lnTo>
                    <a:pt x="882" y="5076"/>
                  </a:lnTo>
                  <a:lnTo>
                    <a:pt x="876" y="5070"/>
                  </a:lnTo>
                  <a:lnTo>
                    <a:pt x="852" y="5040"/>
                  </a:lnTo>
                  <a:lnTo>
                    <a:pt x="840" y="5022"/>
                  </a:lnTo>
                  <a:lnTo>
                    <a:pt x="840" y="5016"/>
                  </a:lnTo>
                  <a:lnTo>
                    <a:pt x="834" y="5010"/>
                  </a:lnTo>
                  <a:lnTo>
                    <a:pt x="822" y="5016"/>
                  </a:lnTo>
                  <a:lnTo>
                    <a:pt x="816" y="5016"/>
                  </a:lnTo>
                  <a:lnTo>
                    <a:pt x="816" y="5010"/>
                  </a:lnTo>
                  <a:lnTo>
                    <a:pt x="828" y="5004"/>
                  </a:lnTo>
                  <a:lnTo>
                    <a:pt x="822" y="4998"/>
                  </a:lnTo>
                  <a:lnTo>
                    <a:pt x="816" y="4992"/>
                  </a:lnTo>
                  <a:lnTo>
                    <a:pt x="798" y="4986"/>
                  </a:lnTo>
                  <a:lnTo>
                    <a:pt x="792" y="4986"/>
                  </a:lnTo>
                  <a:lnTo>
                    <a:pt x="786" y="4992"/>
                  </a:lnTo>
                  <a:lnTo>
                    <a:pt x="774" y="4986"/>
                  </a:lnTo>
                  <a:lnTo>
                    <a:pt x="762" y="4980"/>
                  </a:lnTo>
                  <a:lnTo>
                    <a:pt x="756" y="4980"/>
                  </a:lnTo>
                  <a:lnTo>
                    <a:pt x="750" y="4974"/>
                  </a:lnTo>
                  <a:lnTo>
                    <a:pt x="744" y="4974"/>
                  </a:lnTo>
                  <a:lnTo>
                    <a:pt x="744" y="4968"/>
                  </a:lnTo>
                  <a:lnTo>
                    <a:pt x="738" y="4968"/>
                  </a:lnTo>
                  <a:lnTo>
                    <a:pt x="738" y="4962"/>
                  </a:lnTo>
                  <a:lnTo>
                    <a:pt x="744" y="4962"/>
                  </a:lnTo>
                  <a:lnTo>
                    <a:pt x="738" y="4962"/>
                  </a:lnTo>
                  <a:lnTo>
                    <a:pt x="732" y="4962"/>
                  </a:lnTo>
                  <a:lnTo>
                    <a:pt x="726" y="4962"/>
                  </a:lnTo>
                  <a:lnTo>
                    <a:pt x="714" y="4962"/>
                  </a:lnTo>
                  <a:lnTo>
                    <a:pt x="708" y="4962"/>
                  </a:lnTo>
                  <a:lnTo>
                    <a:pt x="702" y="4962"/>
                  </a:lnTo>
                  <a:lnTo>
                    <a:pt x="702" y="4956"/>
                  </a:lnTo>
                  <a:lnTo>
                    <a:pt x="696" y="4950"/>
                  </a:lnTo>
                  <a:lnTo>
                    <a:pt x="690" y="4950"/>
                  </a:lnTo>
                  <a:lnTo>
                    <a:pt x="690" y="4944"/>
                  </a:lnTo>
                  <a:lnTo>
                    <a:pt x="684" y="4944"/>
                  </a:lnTo>
                  <a:lnTo>
                    <a:pt x="684" y="4938"/>
                  </a:lnTo>
                  <a:lnTo>
                    <a:pt x="678" y="4938"/>
                  </a:lnTo>
                  <a:lnTo>
                    <a:pt x="678" y="4944"/>
                  </a:lnTo>
                  <a:lnTo>
                    <a:pt x="678" y="4938"/>
                  </a:lnTo>
                  <a:lnTo>
                    <a:pt x="672" y="4938"/>
                  </a:lnTo>
                  <a:lnTo>
                    <a:pt x="666" y="4938"/>
                  </a:lnTo>
                  <a:lnTo>
                    <a:pt x="660" y="4932"/>
                  </a:lnTo>
                  <a:lnTo>
                    <a:pt x="654" y="4932"/>
                  </a:lnTo>
                  <a:lnTo>
                    <a:pt x="642" y="4920"/>
                  </a:lnTo>
                  <a:lnTo>
                    <a:pt x="636" y="4920"/>
                  </a:lnTo>
                  <a:lnTo>
                    <a:pt x="630" y="4920"/>
                  </a:lnTo>
                  <a:lnTo>
                    <a:pt x="624" y="4914"/>
                  </a:lnTo>
                  <a:lnTo>
                    <a:pt x="624" y="4908"/>
                  </a:lnTo>
                  <a:lnTo>
                    <a:pt x="630" y="4908"/>
                  </a:lnTo>
                  <a:lnTo>
                    <a:pt x="636" y="4896"/>
                  </a:lnTo>
                  <a:lnTo>
                    <a:pt x="630" y="4896"/>
                  </a:lnTo>
                  <a:lnTo>
                    <a:pt x="624" y="4896"/>
                  </a:lnTo>
                  <a:lnTo>
                    <a:pt x="624" y="4890"/>
                  </a:lnTo>
                  <a:lnTo>
                    <a:pt x="624" y="4884"/>
                  </a:lnTo>
                  <a:lnTo>
                    <a:pt x="624" y="4878"/>
                  </a:lnTo>
                  <a:lnTo>
                    <a:pt x="624" y="4872"/>
                  </a:lnTo>
                  <a:lnTo>
                    <a:pt x="630" y="4872"/>
                  </a:lnTo>
                  <a:lnTo>
                    <a:pt x="630" y="4866"/>
                  </a:lnTo>
                  <a:lnTo>
                    <a:pt x="630" y="4860"/>
                  </a:lnTo>
                  <a:lnTo>
                    <a:pt x="624" y="4860"/>
                  </a:lnTo>
                  <a:lnTo>
                    <a:pt x="624" y="4854"/>
                  </a:lnTo>
                  <a:lnTo>
                    <a:pt x="618" y="4854"/>
                  </a:lnTo>
                  <a:lnTo>
                    <a:pt x="612" y="4854"/>
                  </a:lnTo>
                  <a:lnTo>
                    <a:pt x="606" y="4854"/>
                  </a:lnTo>
                  <a:lnTo>
                    <a:pt x="612" y="4848"/>
                  </a:lnTo>
                  <a:lnTo>
                    <a:pt x="606" y="4848"/>
                  </a:lnTo>
                  <a:lnTo>
                    <a:pt x="606" y="4842"/>
                  </a:lnTo>
                  <a:lnTo>
                    <a:pt x="606" y="4836"/>
                  </a:lnTo>
                  <a:lnTo>
                    <a:pt x="612" y="4836"/>
                  </a:lnTo>
                  <a:lnTo>
                    <a:pt x="612" y="4830"/>
                  </a:lnTo>
                  <a:lnTo>
                    <a:pt x="606" y="4830"/>
                  </a:lnTo>
                  <a:lnTo>
                    <a:pt x="606" y="4824"/>
                  </a:lnTo>
                  <a:lnTo>
                    <a:pt x="606" y="4818"/>
                  </a:lnTo>
                  <a:lnTo>
                    <a:pt x="594" y="4800"/>
                  </a:lnTo>
                  <a:lnTo>
                    <a:pt x="588" y="4800"/>
                  </a:lnTo>
                  <a:lnTo>
                    <a:pt x="582" y="4800"/>
                  </a:lnTo>
                  <a:lnTo>
                    <a:pt x="582" y="4806"/>
                  </a:lnTo>
                  <a:lnTo>
                    <a:pt x="576" y="4800"/>
                  </a:lnTo>
                  <a:lnTo>
                    <a:pt x="576" y="4806"/>
                  </a:lnTo>
                  <a:lnTo>
                    <a:pt x="570" y="4806"/>
                  </a:lnTo>
                  <a:lnTo>
                    <a:pt x="570" y="4800"/>
                  </a:lnTo>
                  <a:lnTo>
                    <a:pt x="564" y="4800"/>
                  </a:lnTo>
                  <a:lnTo>
                    <a:pt x="558" y="4800"/>
                  </a:lnTo>
                  <a:lnTo>
                    <a:pt x="552" y="4794"/>
                  </a:lnTo>
                  <a:lnTo>
                    <a:pt x="558" y="4794"/>
                  </a:lnTo>
                  <a:lnTo>
                    <a:pt x="552" y="4788"/>
                  </a:lnTo>
                  <a:lnTo>
                    <a:pt x="552" y="4782"/>
                  </a:lnTo>
                  <a:lnTo>
                    <a:pt x="552" y="4776"/>
                  </a:lnTo>
                  <a:lnTo>
                    <a:pt x="558" y="4776"/>
                  </a:lnTo>
                  <a:lnTo>
                    <a:pt x="552" y="4776"/>
                  </a:lnTo>
                  <a:lnTo>
                    <a:pt x="552" y="4770"/>
                  </a:lnTo>
                  <a:lnTo>
                    <a:pt x="552" y="4764"/>
                  </a:lnTo>
                  <a:lnTo>
                    <a:pt x="546" y="4758"/>
                  </a:lnTo>
                  <a:lnTo>
                    <a:pt x="540" y="4758"/>
                  </a:lnTo>
                  <a:lnTo>
                    <a:pt x="534" y="4764"/>
                  </a:lnTo>
                  <a:lnTo>
                    <a:pt x="528" y="4746"/>
                  </a:lnTo>
                  <a:lnTo>
                    <a:pt x="522" y="4746"/>
                  </a:lnTo>
                  <a:lnTo>
                    <a:pt x="522" y="4740"/>
                  </a:lnTo>
                  <a:lnTo>
                    <a:pt x="516" y="4740"/>
                  </a:lnTo>
                  <a:lnTo>
                    <a:pt x="516" y="4734"/>
                  </a:lnTo>
                  <a:lnTo>
                    <a:pt x="510" y="4734"/>
                  </a:lnTo>
                  <a:lnTo>
                    <a:pt x="504" y="4722"/>
                  </a:lnTo>
                  <a:lnTo>
                    <a:pt x="498" y="4722"/>
                  </a:lnTo>
                  <a:lnTo>
                    <a:pt x="498" y="4716"/>
                  </a:lnTo>
                  <a:lnTo>
                    <a:pt x="480" y="4710"/>
                  </a:lnTo>
                  <a:lnTo>
                    <a:pt x="474" y="4710"/>
                  </a:lnTo>
                  <a:lnTo>
                    <a:pt x="468" y="4710"/>
                  </a:lnTo>
                  <a:lnTo>
                    <a:pt x="462" y="4704"/>
                  </a:lnTo>
                  <a:lnTo>
                    <a:pt x="456" y="4698"/>
                  </a:lnTo>
                  <a:lnTo>
                    <a:pt x="456" y="4692"/>
                  </a:lnTo>
                  <a:lnTo>
                    <a:pt x="450" y="4692"/>
                  </a:lnTo>
                  <a:lnTo>
                    <a:pt x="450" y="4686"/>
                  </a:lnTo>
                  <a:lnTo>
                    <a:pt x="444" y="4686"/>
                  </a:lnTo>
                  <a:lnTo>
                    <a:pt x="444" y="4680"/>
                  </a:lnTo>
                  <a:lnTo>
                    <a:pt x="438" y="4680"/>
                  </a:lnTo>
                  <a:lnTo>
                    <a:pt x="432" y="4674"/>
                  </a:lnTo>
                  <a:lnTo>
                    <a:pt x="426" y="4674"/>
                  </a:lnTo>
                  <a:lnTo>
                    <a:pt x="420" y="4674"/>
                  </a:lnTo>
                  <a:lnTo>
                    <a:pt x="420" y="4668"/>
                  </a:lnTo>
                  <a:lnTo>
                    <a:pt x="414" y="4668"/>
                  </a:lnTo>
                  <a:lnTo>
                    <a:pt x="414" y="4662"/>
                  </a:lnTo>
                  <a:lnTo>
                    <a:pt x="420" y="4662"/>
                  </a:lnTo>
                  <a:lnTo>
                    <a:pt x="414" y="4656"/>
                  </a:lnTo>
                  <a:lnTo>
                    <a:pt x="408" y="4656"/>
                  </a:lnTo>
                  <a:lnTo>
                    <a:pt x="408" y="4638"/>
                  </a:lnTo>
                  <a:lnTo>
                    <a:pt x="414" y="4638"/>
                  </a:lnTo>
                  <a:lnTo>
                    <a:pt x="414" y="4632"/>
                  </a:lnTo>
                  <a:lnTo>
                    <a:pt x="414" y="4626"/>
                  </a:lnTo>
                  <a:lnTo>
                    <a:pt x="420" y="4626"/>
                  </a:lnTo>
                  <a:lnTo>
                    <a:pt x="420" y="4620"/>
                  </a:lnTo>
                  <a:lnTo>
                    <a:pt x="414" y="4620"/>
                  </a:lnTo>
                  <a:lnTo>
                    <a:pt x="414" y="4614"/>
                  </a:lnTo>
                  <a:lnTo>
                    <a:pt x="420" y="4614"/>
                  </a:lnTo>
                  <a:lnTo>
                    <a:pt x="426" y="4614"/>
                  </a:lnTo>
                  <a:lnTo>
                    <a:pt x="426" y="4620"/>
                  </a:lnTo>
                  <a:lnTo>
                    <a:pt x="432" y="4620"/>
                  </a:lnTo>
                  <a:lnTo>
                    <a:pt x="432" y="4626"/>
                  </a:lnTo>
                  <a:lnTo>
                    <a:pt x="438" y="4620"/>
                  </a:lnTo>
                  <a:lnTo>
                    <a:pt x="444" y="4620"/>
                  </a:lnTo>
                  <a:lnTo>
                    <a:pt x="450" y="4620"/>
                  </a:lnTo>
                  <a:lnTo>
                    <a:pt x="456" y="4626"/>
                  </a:lnTo>
                  <a:lnTo>
                    <a:pt x="456" y="4620"/>
                  </a:lnTo>
                  <a:lnTo>
                    <a:pt x="456" y="4614"/>
                  </a:lnTo>
                  <a:lnTo>
                    <a:pt x="450" y="4614"/>
                  </a:lnTo>
                  <a:lnTo>
                    <a:pt x="456" y="4608"/>
                  </a:lnTo>
                  <a:lnTo>
                    <a:pt x="456" y="4602"/>
                  </a:lnTo>
                  <a:lnTo>
                    <a:pt x="462" y="4596"/>
                  </a:lnTo>
                  <a:lnTo>
                    <a:pt x="450" y="4590"/>
                  </a:lnTo>
                  <a:lnTo>
                    <a:pt x="456" y="4584"/>
                  </a:lnTo>
                  <a:lnTo>
                    <a:pt x="450" y="4584"/>
                  </a:lnTo>
                  <a:lnTo>
                    <a:pt x="450" y="4578"/>
                  </a:lnTo>
                  <a:lnTo>
                    <a:pt x="456" y="4578"/>
                  </a:lnTo>
                  <a:lnTo>
                    <a:pt x="456" y="4572"/>
                  </a:lnTo>
                  <a:lnTo>
                    <a:pt x="456" y="4566"/>
                  </a:lnTo>
                  <a:lnTo>
                    <a:pt x="456" y="4554"/>
                  </a:lnTo>
                  <a:lnTo>
                    <a:pt x="462" y="4554"/>
                  </a:lnTo>
                  <a:lnTo>
                    <a:pt x="456" y="4548"/>
                  </a:lnTo>
                  <a:lnTo>
                    <a:pt x="450" y="4548"/>
                  </a:lnTo>
                  <a:lnTo>
                    <a:pt x="444" y="4548"/>
                  </a:lnTo>
                  <a:lnTo>
                    <a:pt x="438" y="4548"/>
                  </a:lnTo>
                  <a:lnTo>
                    <a:pt x="432" y="4548"/>
                  </a:lnTo>
                  <a:lnTo>
                    <a:pt x="426" y="4548"/>
                  </a:lnTo>
                  <a:lnTo>
                    <a:pt x="420" y="4548"/>
                  </a:lnTo>
                  <a:lnTo>
                    <a:pt x="414" y="4548"/>
                  </a:lnTo>
                  <a:lnTo>
                    <a:pt x="408" y="4548"/>
                  </a:lnTo>
                  <a:lnTo>
                    <a:pt x="402" y="4548"/>
                  </a:lnTo>
                  <a:lnTo>
                    <a:pt x="396" y="4548"/>
                  </a:lnTo>
                  <a:lnTo>
                    <a:pt x="390" y="4548"/>
                  </a:lnTo>
                  <a:lnTo>
                    <a:pt x="384" y="4542"/>
                  </a:lnTo>
                  <a:lnTo>
                    <a:pt x="378" y="4536"/>
                  </a:lnTo>
                  <a:lnTo>
                    <a:pt x="384" y="4530"/>
                  </a:lnTo>
                  <a:lnTo>
                    <a:pt x="390" y="4524"/>
                  </a:lnTo>
                  <a:lnTo>
                    <a:pt x="390" y="4518"/>
                  </a:lnTo>
                  <a:lnTo>
                    <a:pt x="384" y="4512"/>
                  </a:lnTo>
                  <a:lnTo>
                    <a:pt x="378" y="4512"/>
                  </a:lnTo>
                  <a:lnTo>
                    <a:pt x="378" y="4500"/>
                  </a:lnTo>
                  <a:lnTo>
                    <a:pt x="372" y="4506"/>
                  </a:lnTo>
                  <a:lnTo>
                    <a:pt x="366" y="4512"/>
                  </a:lnTo>
                  <a:lnTo>
                    <a:pt x="360" y="4512"/>
                  </a:lnTo>
                  <a:lnTo>
                    <a:pt x="360" y="4518"/>
                  </a:lnTo>
                  <a:lnTo>
                    <a:pt x="354" y="4512"/>
                  </a:lnTo>
                  <a:lnTo>
                    <a:pt x="354" y="4506"/>
                  </a:lnTo>
                  <a:lnTo>
                    <a:pt x="354" y="4500"/>
                  </a:lnTo>
                  <a:lnTo>
                    <a:pt x="348" y="4500"/>
                  </a:lnTo>
                  <a:lnTo>
                    <a:pt x="342" y="4500"/>
                  </a:lnTo>
                  <a:lnTo>
                    <a:pt x="348" y="4500"/>
                  </a:lnTo>
                  <a:lnTo>
                    <a:pt x="348" y="4494"/>
                  </a:lnTo>
                  <a:lnTo>
                    <a:pt x="348" y="4488"/>
                  </a:lnTo>
                  <a:lnTo>
                    <a:pt x="342" y="4482"/>
                  </a:lnTo>
                  <a:lnTo>
                    <a:pt x="342" y="4476"/>
                  </a:lnTo>
                  <a:lnTo>
                    <a:pt x="336" y="4476"/>
                  </a:lnTo>
                  <a:lnTo>
                    <a:pt x="330" y="4470"/>
                  </a:lnTo>
                  <a:lnTo>
                    <a:pt x="330" y="4464"/>
                  </a:lnTo>
                  <a:lnTo>
                    <a:pt x="324" y="4464"/>
                  </a:lnTo>
                  <a:lnTo>
                    <a:pt x="318" y="4458"/>
                  </a:lnTo>
                  <a:lnTo>
                    <a:pt x="318" y="4452"/>
                  </a:lnTo>
                  <a:lnTo>
                    <a:pt x="318" y="4458"/>
                  </a:lnTo>
                  <a:lnTo>
                    <a:pt x="312" y="4452"/>
                  </a:lnTo>
                  <a:lnTo>
                    <a:pt x="306" y="4452"/>
                  </a:lnTo>
                  <a:lnTo>
                    <a:pt x="306" y="4446"/>
                  </a:lnTo>
                  <a:lnTo>
                    <a:pt x="300" y="4446"/>
                  </a:lnTo>
                  <a:lnTo>
                    <a:pt x="300" y="4440"/>
                  </a:lnTo>
                  <a:lnTo>
                    <a:pt x="306" y="4434"/>
                  </a:lnTo>
                  <a:lnTo>
                    <a:pt x="300" y="4434"/>
                  </a:lnTo>
                  <a:lnTo>
                    <a:pt x="306" y="4428"/>
                  </a:lnTo>
                  <a:lnTo>
                    <a:pt x="300" y="4428"/>
                  </a:lnTo>
                  <a:lnTo>
                    <a:pt x="306" y="4422"/>
                  </a:lnTo>
                  <a:lnTo>
                    <a:pt x="306" y="4416"/>
                  </a:lnTo>
                  <a:lnTo>
                    <a:pt x="312" y="4410"/>
                  </a:lnTo>
                  <a:lnTo>
                    <a:pt x="312" y="4404"/>
                  </a:lnTo>
                  <a:lnTo>
                    <a:pt x="312" y="4398"/>
                  </a:lnTo>
                  <a:lnTo>
                    <a:pt x="300" y="4398"/>
                  </a:lnTo>
                  <a:lnTo>
                    <a:pt x="294" y="4398"/>
                  </a:lnTo>
                  <a:lnTo>
                    <a:pt x="288" y="4398"/>
                  </a:lnTo>
                  <a:lnTo>
                    <a:pt x="282" y="4386"/>
                  </a:lnTo>
                  <a:lnTo>
                    <a:pt x="282" y="4380"/>
                  </a:lnTo>
                  <a:lnTo>
                    <a:pt x="282" y="4374"/>
                  </a:lnTo>
                  <a:lnTo>
                    <a:pt x="282" y="4368"/>
                  </a:lnTo>
                  <a:lnTo>
                    <a:pt x="288" y="4368"/>
                  </a:lnTo>
                  <a:lnTo>
                    <a:pt x="282" y="4362"/>
                  </a:lnTo>
                  <a:lnTo>
                    <a:pt x="288" y="4362"/>
                  </a:lnTo>
                  <a:lnTo>
                    <a:pt x="288" y="4356"/>
                  </a:lnTo>
                  <a:lnTo>
                    <a:pt x="294" y="4356"/>
                  </a:lnTo>
                  <a:lnTo>
                    <a:pt x="300" y="4350"/>
                  </a:lnTo>
                  <a:lnTo>
                    <a:pt x="306" y="4350"/>
                  </a:lnTo>
                  <a:lnTo>
                    <a:pt x="312" y="4350"/>
                  </a:lnTo>
                  <a:lnTo>
                    <a:pt x="318" y="4344"/>
                  </a:lnTo>
                  <a:lnTo>
                    <a:pt x="318" y="4338"/>
                  </a:lnTo>
                  <a:lnTo>
                    <a:pt x="318" y="4332"/>
                  </a:lnTo>
                  <a:lnTo>
                    <a:pt x="318" y="4326"/>
                  </a:lnTo>
                  <a:lnTo>
                    <a:pt x="318" y="4320"/>
                  </a:lnTo>
                  <a:lnTo>
                    <a:pt x="318" y="4314"/>
                  </a:lnTo>
                  <a:lnTo>
                    <a:pt x="318" y="4308"/>
                  </a:lnTo>
                  <a:lnTo>
                    <a:pt x="324" y="4308"/>
                  </a:lnTo>
                  <a:lnTo>
                    <a:pt x="318" y="4302"/>
                  </a:lnTo>
                  <a:lnTo>
                    <a:pt x="324" y="4302"/>
                  </a:lnTo>
                  <a:lnTo>
                    <a:pt x="324" y="4296"/>
                  </a:lnTo>
                  <a:lnTo>
                    <a:pt x="324" y="4290"/>
                  </a:lnTo>
                  <a:lnTo>
                    <a:pt x="330" y="4290"/>
                  </a:lnTo>
                  <a:lnTo>
                    <a:pt x="330" y="4284"/>
                  </a:lnTo>
                  <a:lnTo>
                    <a:pt x="324" y="4278"/>
                  </a:lnTo>
                  <a:lnTo>
                    <a:pt x="324" y="4272"/>
                  </a:lnTo>
                  <a:lnTo>
                    <a:pt x="318" y="4266"/>
                  </a:lnTo>
                  <a:lnTo>
                    <a:pt x="312" y="4266"/>
                  </a:lnTo>
                  <a:lnTo>
                    <a:pt x="312" y="4260"/>
                  </a:lnTo>
                  <a:lnTo>
                    <a:pt x="306" y="4260"/>
                  </a:lnTo>
                  <a:lnTo>
                    <a:pt x="300" y="4266"/>
                  </a:lnTo>
                  <a:lnTo>
                    <a:pt x="300" y="4260"/>
                  </a:lnTo>
                  <a:lnTo>
                    <a:pt x="294" y="4260"/>
                  </a:lnTo>
                  <a:lnTo>
                    <a:pt x="294" y="4254"/>
                  </a:lnTo>
                  <a:lnTo>
                    <a:pt x="288" y="4254"/>
                  </a:lnTo>
                  <a:lnTo>
                    <a:pt x="288" y="4248"/>
                  </a:lnTo>
                  <a:lnTo>
                    <a:pt x="282" y="4242"/>
                  </a:lnTo>
                  <a:lnTo>
                    <a:pt x="276" y="4242"/>
                  </a:lnTo>
                  <a:lnTo>
                    <a:pt x="270" y="4242"/>
                  </a:lnTo>
                  <a:lnTo>
                    <a:pt x="270" y="4236"/>
                  </a:lnTo>
                  <a:lnTo>
                    <a:pt x="264" y="4236"/>
                  </a:lnTo>
                  <a:lnTo>
                    <a:pt x="258" y="4236"/>
                  </a:lnTo>
                  <a:lnTo>
                    <a:pt x="252" y="4230"/>
                  </a:lnTo>
                  <a:lnTo>
                    <a:pt x="252" y="4236"/>
                  </a:lnTo>
                  <a:lnTo>
                    <a:pt x="252" y="4230"/>
                  </a:lnTo>
                  <a:lnTo>
                    <a:pt x="252" y="4224"/>
                  </a:lnTo>
                  <a:lnTo>
                    <a:pt x="246" y="4218"/>
                  </a:lnTo>
                  <a:lnTo>
                    <a:pt x="240" y="4218"/>
                  </a:lnTo>
                  <a:lnTo>
                    <a:pt x="240" y="4212"/>
                  </a:lnTo>
                  <a:lnTo>
                    <a:pt x="234" y="4212"/>
                  </a:lnTo>
                  <a:lnTo>
                    <a:pt x="234" y="4218"/>
                  </a:lnTo>
                  <a:lnTo>
                    <a:pt x="228" y="4218"/>
                  </a:lnTo>
                  <a:lnTo>
                    <a:pt x="222" y="4218"/>
                  </a:lnTo>
                  <a:lnTo>
                    <a:pt x="216" y="4218"/>
                  </a:lnTo>
                  <a:lnTo>
                    <a:pt x="210" y="4218"/>
                  </a:lnTo>
                  <a:lnTo>
                    <a:pt x="204" y="4218"/>
                  </a:lnTo>
                  <a:lnTo>
                    <a:pt x="198" y="4218"/>
                  </a:lnTo>
                  <a:lnTo>
                    <a:pt x="192" y="4218"/>
                  </a:lnTo>
                  <a:lnTo>
                    <a:pt x="186" y="4218"/>
                  </a:lnTo>
                  <a:lnTo>
                    <a:pt x="180" y="4218"/>
                  </a:lnTo>
                  <a:lnTo>
                    <a:pt x="174" y="4212"/>
                  </a:lnTo>
                  <a:lnTo>
                    <a:pt x="168" y="4212"/>
                  </a:lnTo>
                  <a:lnTo>
                    <a:pt x="162" y="4212"/>
                  </a:lnTo>
                  <a:lnTo>
                    <a:pt x="162" y="4218"/>
                  </a:lnTo>
                  <a:lnTo>
                    <a:pt x="156" y="4218"/>
                  </a:lnTo>
                  <a:lnTo>
                    <a:pt x="156" y="4224"/>
                  </a:lnTo>
                  <a:lnTo>
                    <a:pt x="150" y="4224"/>
                  </a:lnTo>
                  <a:lnTo>
                    <a:pt x="150" y="4230"/>
                  </a:lnTo>
                  <a:lnTo>
                    <a:pt x="144" y="4230"/>
                  </a:lnTo>
                  <a:lnTo>
                    <a:pt x="138" y="4230"/>
                  </a:lnTo>
                  <a:lnTo>
                    <a:pt x="132" y="4230"/>
                  </a:lnTo>
                  <a:lnTo>
                    <a:pt x="126" y="4230"/>
                  </a:lnTo>
                  <a:lnTo>
                    <a:pt x="120" y="4236"/>
                  </a:lnTo>
                  <a:lnTo>
                    <a:pt x="114" y="4236"/>
                  </a:lnTo>
                  <a:lnTo>
                    <a:pt x="108" y="4236"/>
                  </a:lnTo>
                  <a:lnTo>
                    <a:pt x="102" y="4242"/>
                  </a:lnTo>
                  <a:lnTo>
                    <a:pt x="96" y="4242"/>
                  </a:lnTo>
                  <a:lnTo>
                    <a:pt x="96" y="4248"/>
                  </a:lnTo>
                  <a:lnTo>
                    <a:pt x="90" y="4254"/>
                  </a:lnTo>
                  <a:lnTo>
                    <a:pt x="90" y="4260"/>
                  </a:lnTo>
                  <a:lnTo>
                    <a:pt x="84" y="4260"/>
                  </a:lnTo>
                  <a:lnTo>
                    <a:pt x="84" y="4254"/>
                  </a:lnTo>
                  <a:lnTo>
                    <a:pt x="72" y="4254"/>
                  </a:lnTo>
                  <a:lnTo>
                    <a:pt x="66" y="4260"/>
                  </a:lnTo>
                  <a:lnTo>
                    <a:pt x="66" y="4266"/>
                  </a:lnTo>
                  <a:lnTo>
                    <a:pt x="60" y="4266"/>
                  </a:lnTo>
                  <a:lnTo>
                    <a:pt x="54" y="4266"/>
                  </a:lnTo>
                  <a:lnTo>
                    <a:pt x="42" y="4266"/>
                  </a:lnTo>
                  <a:lnTo>
                    <a:pt x="36" y="4266"/>
                  </a:lnTo>
                  <a:lnTo>
                    <a:pt x="30" y="4266"/>
                  </a:lnTo>
                  <a:lnTo>
                    <a:pt x="24" y="4266"/>
                  </a:lnTo>
                  <a:lnTo>
                    <a:pt x="18" y="4254"/>
                  </a:lnTo>
                  <a:lnTo>
                    <a:pt x="12" y="4254"/>
                  </a:lnTo>
                  <a:lnTo>
                    <a:pt x="6" y="4254"/>
                  </a:lnTo>
                  <a:lnTo>
                    <a:pt x="6" y="4248"/>
                  </a:lnTo>
                  <a:lnTo>
                    <a:pt x="6" y="4242"/>
                  </a:lnTo>
                  <a:lnTo>
                    <a:pt x="0" y="4242"/>
                  </a:lnTo>
                  <a:lnTo>
                    <a:pt x="12" y="4236"/>
                  </a:lnTo>
                  <a:lnTo>
                    <a:pt x="24" y="4230"/>
                  </a:lnTo>
                  <a:lnTo>
                    <a:pt x="30" y="4218"/>
                  </a:lnTo>
                  <a:lnTo>
                    <a:pt x="30" y="4206"/>
                  </a:lnTo>
                  <a:lnTo>
                    <a:pt x="36" y="4206"/>
                  </a:lnTo>
                  <a:lnTo>
                    <a:pt x="42" y="4200"/>
                  </a:lnTo>
                  <a:lnTo>
                    <a:pt x="42" y="4194"/>
                  </a:lnTo>
                  <a:lnTo>
                    <a:pt x="48" y="4188"/>
                  </a:lnTo>
                  <a:lnTo>
                    <a:pt x="48" y="4182"/>
                  </a:lnTo>
                  <a:lnTo>
                    <a:pt x="54" y="4182"/>
                  </a:lnTo>
                  <a:lnTo>
                    <a:pt x="60" y="4182"/>
                  </a:lnTo>
                  <a:lnTo>
                    <a:pt x="60" y="4170"/>
                  </a:lnTo>
                  <a:lnTo>
                    <a:pt x="60" y="4164"/>
                  </a:lnTo>
                  <a:lnTo>
                    <a:pt x="66" y="4164"/>
                  </a:lnTo>
                  <a:lnTo>
                    <a:pt x="66" y="4170"/>
                  </a:lnTo>
                  <a:lnTo>
                    <a:pt x="72" y="4164"/>
                  </a:lnTo>
                  <a:lnTo>
                    <a:pt x="72" y="4170"/>
                  </a:lnTo>
                  <a:lnTo>
                    <a:pt x="72" y="4164"/>
                  </a:lnTo>
                  <a:lnTo>
                    <a:pt x="78" y="4164"/>
                  </a:lnTo>
                  <a:lnTo>
                    <a:pt x="84" y="4164"/>
                  </a:lnTo>
                  <a:lnTo>
                    <a:pt x="84" y="4158"/>
                  </a:lnTo>
                  <a:lnTo>
                    <a:pt x="84" y="4152"/>
                  </a:lnTo>
                  <a:lnTo>
                    <a:pt x="84" y="4146"/>
                  </a:lnTo>
                  <a:lnTo>
                    <a:pt x="90" y="4116"/>
                  </a:lnTo>
                  <a:lnTo>
                    <a:pt x="96" y="4110"/>
                  </a:lnTo>
                  <a:lnTo>
                    <a:pt x="96" y="4098"/>
                  </a:lnTo>
                  <a:lnTo>
                    <a:pt x="102" y="4092"/>
                  </a:lnTo>
                  <a:lnTo>
                    <a:pt x="108" y="4086"/>
                  </a:lnTo>
                  <a:lnTo>
                    <a:pt x="114" y="4086"/>
                  </a:lnTo>
                  <a:lnTo>
                    <a:pt x="114" y="4092"/>
                  </a:lnTo>
                  <a:lnTo>
                    <a:pt x="120" y="4092"/>
                  </a:lnTo>
                  <a:lnTo>
                    <a:pt x="120" y="4086"/>
                  </a:lnTo>
                  <a:lnTo>
                    <a:pt x="126" y="4092"/>
                  </a:lnTo>
                  <a:lnTo>
                    <a:pt x="132" y="4086"/>
                  </a:lnTo>
                  <a:lnTo>
                    <a:pt x="132" y="4092"/>
                  </a:lnTo>
                  <a:lnTo>
                    <a:pt x="132" y="4098"/>
                  </a:lnTo>
                  <a:lnTo>
                    <a:pt x="138" y="4098"/>
                  </a:lnTo>
                  <a:lnTo>
                    <a:pt x="138" y="4092"/>
                  </a:lnTo>
                  <a:lnTo>
                    <a:pt x="144" y="4086"/>
                  </a:lnTo>
                  <a:lnTo>
                    <a:pt x="144" y="4080"/>
                  </a:lnTo>
                  <a:lnTo>
                    <a:pt x="150" y="4086"/>
                  </a:lnTo>
                  <a:lnTo>
                    <a:pt x="150" y="4080"/>
                  </a:lnTo>
                  <a:lnTo>
                    <a:pt x="156" y="4074"/>
                  </a:lnTo>
                  <a:lnTo>
                    <a:pt x="162" y="4074"/>
                  </a:lnTo>
                  <a:lnTo>
                    <a:pt x="168" y="4074"/>
                  </a:lnTo>
                  <a:lnTo>
                    <a:pt x="162" y="4068"/>
                  </a:lnTo>
                  <a:lnTo>
                    <a:pt x="168" y="4068"/>
                  </a:lnTo>
                  <a:lnTo>
                    <a:pt x="162" y="4062"/>
                  </a:lnTo>
                  <a:lnTo>
                    <a:pt x="162" y="4056"/>
                  </a:lnTo>
                  <a:lnTo>
                    <a:pt x="168" y="4044"/>
                  </a:lnTo>
                  <a:lnTo>
                    <a:pt x="174" y="4038"/>
                  </a:lnTo>
                  <a:lnTo>
                    <a:pt x="186" y="4038"/>
                  </a:lnTo>
                  <a:lnTo>
                    <a:pt x="192" y="4044"/>
                  </a:lnTo>
                  <a:lnTo>
                    <a:pt x="192" y="4038"/>
                  </a:lnTo>
                  <a:lnTo>
                    <a:pt x="198" y="4044"/>
                  </a:lnTo>
                  <a:lnTo>
                    <a:pt x="204" y="4038"/>
                  </a:lnTo>
                  <a:lnTo>
                    <a:pt x="204" y="4026"/>
                  </a:lnTo>
                  <a:lnTo>
                    <a:pt x="198" y="3996"/>
                  </a:lnTo>
                  <a:lnTo>
                    <a:pt x="210" y="3972"/>
                  </a:lnTo>
                  <a:lnTo>
                    <a:pt x="210" y="3966"/>
                  </a:lnTo>
                  <a:lnTo>
                    <a:pt x="204" y="3966"/>
                  </a:lnTo>
                  <a:lnTo>
                    <a:pt x="204" y="3954"/>
                  </a:lnTo>
                  <a:lnTo>
                    <a:pt x="210" y="3948"/>
                  </a:lnTo>
                  <a:lnTo>
                    <a:pt x="216" y="3936"/>
                  </a:lnTo>
                  <a:lnTo>
                    <a:pt x="222" y="3942"/>
                  </a:lnTo>
                  <a:lnTo>
                    <a:pt x="228" y="3942"/>
                  </a:lnTo>
                  <a:lnTo>
                    <a:pt x="228" y="3948"/>
                  </a:lnTo>
                  <a:lnTo>
                    <a:pt x="228" y="3960"/>
                  </a:lnTo>
                  <a:lnTo>
                    <a:pt x="234" y="3966"/>
                  </a:lnTo>
                  <a:lnTo>
                    <a:pt x="246" y="3960"/>
                  </a:lnTo>
                  <a:lnTo>
                    <a:pt x="258" y="3954"/>
                  </a:lnTo>
                  <a:lnTo>
                    <a:pt x="264" y="3954"/>
                  </a:lnTo>
                  <a:lnTo>
                    <a:pt x="270" y="3960"/>
                  </a:lnTo>
                  <a:lnTo>
                    <a:pt x="288" y="3966"/>
                  </a:lnTo>
                  <a:lnTo>
                    <a:pt x="288" y="3960"/>
                  </a:lnTo>
                  <a:lnTo>
                    <a:pt x="288" y="3954"/>
                  </a:lnTo>
                  <a:lnTo>
                    <a:pt x="294" y="3954"/>
                  </a:lnTo>
                  <a:lnTo>
                    <a:pt x="288" y="3948"/>
                  </a:lnTo>
                  <a:lnTo>
                    <a:pt x="294" y="3942"/>
                  </a:lnTo>
                  <a:lnTo>
                    <a:pt x="294" y="3936"/>
                  </a:lnTo>
                  <a:lnTo>
                    <a:pt x="312" y="3942"/>
                  </a:lnTo>
                  <a:lnTo>
                    <a:pt x="318" y="3942"/>
                  </a:lnTo>
                  <a:lnTo>
                    <a:pt x="324" y="3954"/>
                  </a:lnTo>
                  <a:lnTo>
                    <a:pt x="330" y="3954"/>
                  </a:lnTo>
                  <a:lnTo>
                    <a:pt x="336" y="3954"/>
                  </a:lnTo>
                  <a:lnTo>
                    <a:pt x="342" y="3954"/>
                  </a:lnTo>
                  <a:lnTo>
                    <a:pt x="348" y="3954"/>
                  </a:lnTo>
                  <a:lnTo>
                    <a:pt x="348" y="3948"/>
                  </a:lnTo>
                  <a:lnTo>
                    <a:pt x="354" y="3948"/>
                  </a:lnTo>
                  <a:lnTo>
                    <a:pt x="360" y="3942"/>
                  </a:lnTo>
                  <a:lnTo>
                    <a:pt x="384" y="3942"/>
                  </a:lnTo>
                  <a:lnTo>
                    <a:pt x="390" y="3948"/>
                  </a:lnTo>
                  <a:lnTo>
                    <a:pt x="390" y="3954"/>
                  </a:lnTo>
                  <a:lnTo>
                    <a:pt x="402" y="3960"/>
                  </a:lnTo>
                  <a:lnTo>
                    <a:pt x="426" y="3960"/>
                  </a:lnTo>
                  <a:lnTo>
                    <a:pt x="426" y="3942"/>
                  </a:lnTo>
                  <a:lnTo>
                    <a:pt x="426" y="3936"/>
                  </a:lnTo>
                  <a:lnTo>
                    <a:pt x="432" y="3936"/>
                  </a:lnTo>
                  <a:lnTo>
                    <a:pt x="438" y="3936"/>
                  </a:lnTo>
                  <a:lnTo>
                    <a:pt x="444" y="3942"/>
                  </a:lnTo>
                  <a:lnTo>
                    <a:pt x="450" y="3942"/>
                  </a:lnTo>
                  <a:lnTo>
                    <a:pt x="450" y="3948"/>
                  </a:lnTo>
                  <a:lnTo>
                    <a:pt x="456" y="3948"/>
                  </a:lnTo>
                  <a:lnTo>
                    <a:pt x="462" y="3948"/>
                  </a:lnTo>
                  <a:lnTo>
                    <a:pt x="468" y="3948"/>
                  </a:lnTo>
                  <a:lnTo>
                    <a:pt x="474" y="3948"/>
                  </a:lnTo>
                  <a:lnTo>
                    <a:pt x="474" y="3954"/>
                  </a:lnTo>
                  <a:lnTo>
                    <a:pt x="480" y="3954"/>
                  </a:lnTo>
                  <a:lnTo>
                    <a:pt x="486" y="3942"/>
                  </a:lnTo>
                  <a:lnTo>
                    <a:pt x="492" y="3936"/>
                  </a:lnTo>
                  <a:lnTo>
                    <a:pt x="498" y="3942"/>
                  </a:lnTo>
                  <a:lnTo>
                    <a:pt x="504" y="3942"/>
                  </a:lnTo>
                  <a:lnTo>
                    <a:pt x="504" y="3936"/>
                  </a:lnTo>
                  <a:lnTo>
                    <a:pt x="510" y="3936"/>
                  </a:lnTo>
                  <a:lnTo>
                    <a:pt x="516" y="3936"/>
                  </a:lnTo>
                  <a:lnTo>
                    <a:pt x="516" y="3930"/>
                  </a:lnTo>
                  <a:lnTo>
                    <a:pt x="510" y="3930"/>
                  </a:lnTo>
                  <a:lnTo>
                    <a:pt x="510" y="3924"/>
                  </a:lnTo>
                  <a:lnTo>
                    <a:pt x="498" y="3924"/>
                  </a:lnTo>
                  <a:lnTo>
                    <a:pt x="498" y="3918"/>
                  </a:lnTo>
                  <a:lnTo>
                    <a:pt x="486" y="3918"/>
                  </a:lnTo>
                  <a:lnTo>
                    <a:pt x="486" y="3912"/>
                  </a:lnTo>
                  <a:lnTo>
                    <a:pt x="480" y="3912"/>
                  </a:lnTo>
                  <a:lnTo>
                    <a:pt x="474" y="3900"/>
                  </a:lnTo>
                  <a:lnTo>
                    <a:pt x="474" y="3894"/>
                  </a:lnTo>
                  <a:lnTo>
                    <a:pt x="468" y="3900"/>
                  </a:lnTo>
                  <a:lnTo>
                    <a:pt x="468" y="3894"/>
                  </a:lnTo>
                  <a:lnTo>
                    <a:pt x="462" y="3894"/>
                  </a:lnTo>
                  <a:lnTo>
                    <a:pt x="462" y="3888"/>
                  </a:lnTo>
                  <a:lnTo>
                    <a:pt x="456" y="3888"/>
                  </a:lnTo>
                  <a:lnTo>
                    <a:pt x="450" y="3876"/>
                  </a:lnTo>
                  <a:lnTo>
                    <a:pt x="438" y="3882"/>
                  </a:lnTo>
                  <a:lnTo>
                    <a:pt x="426" y="3900"/>
                  </a:lnTo>
                  <a:lnTo>
                    <a:pt x="420" y="3894"/>
                  </a:lnTo>
                  <a:lnTo>
                    <a:pt x="414" y="3888"/>
                  </a:lnTo>
                  <a:lnTo>
                    <a:pt x="420" y="3876"/>
                  </a:lnTo>
                  <a:lnTo>
                    <a:pt x="414" y="3876"/>
                  </a:lnTo>
                  <a:lnTo>
                    <a:pt x="414" y="3870"/>
                  </a:lnTo>
                  <a:lnTo>
                    <a:pt x="426" y="3864"/>
                  </a:lnTo>
                  <a:lnTo>
                    <a:pt x="432" y="3864"/>
                  </a:lnTo>
                  <a:lnTo>
                    <a:pt x="438" y="3858"/>
                  </a:lnTo>
                  <a:lnTo>
                    <a:pt x="444" y="3852"/>
                  </a:lnTo>
                  <a:lnTo>
                    <a:pt x="450" y="3858"/>
                  </a:lnTo>
                  <a:lnTo>
                    <a:pt x="456" y="3852"/>
                  </a:lnTo>
                  <a:lnTo>
                    <a:pt x="456" y="3846"/>
                  </a:lnTo>
                  <a:lnTo>
                    <a:pt x="462" y="3846"/>
                  </a:lnTo>
                  <a:lnTo>
                    <a:pt x="468" y="3846"/>
                  </a:lnTo>
                  <a:lnTo>
                    <a:pt x="486" y="3840"/>
                  </a:lnTo>
                  <a:lnTo>
                    <a:pt x="492" y="3834"/>
                  </a:lnTo>
                  <a:lnTo>
                    <a:pt x="498" y="3840"/>
                  </a:lnTo>
                  <a:lnTo>
                    <a:pt x="516" y="3822"/>
                  </a:lnTo>
                  <a:lnTo>
                    <a:pt x="516" y="3810"/>
                  </a:lnTo>
                  <a:lnTo>
                    <a:pt x="492" y="3798"/>
                  </a:lnTo>
                  <a:lnTo>
                    <a:pt x="486" y="3798"/>
                  </a:lnTo>
                  <a:lnTo>
                    <a:pt x="474" y="3798"/>
                  </a:lnTo>
                  <a:lnTo>
                    <a:pt x="474" y="3804"/>
                  </a:lnTo>
                  <a:lnTo>
                    <a:pt x="462" y="3798"/>
                  </a:lnTo>
                  <a:lnTo>
                    <a:pt x="462" y="3792"/>
                  </a:lnTo>
                  <a:lnTo>
                    <a:pt x="450" y="3798"/>
                  </a:lnTo>
                  <a:lnTo>
                    <a:pt x="450" y="3786"/>
                  </a:lnTo>
                  <a:lnTo>
                    <a:pt x="450" y="3780"/>
                  </a:lnTo>
                  <a:lnTo>
                    <a:pt x="450" y="3774"/>
                  </a:lnTo>
                  <a:lnTo>
                    <a:pt x="450" y="3768"/>
                  </a:lnTo>
                  <a:lnTo>
                    <a:pt x="444" y="3768"/>
                  </a:lnTo>
                  <a:lnTo>
                    <a:pt x="444" y="3762"/>
                  </a:lnTo>
                  <a:lnTo>
                    <a:pt x="438" y="3768"/>
                  </a:lnTo>
                  <a:lnTo>
                    <a:pt x="438" y="3756"/>
                  </a:lnTo>
                  <a:lnTo>
                    <a:pt x="438" y="3750"/>
                  </a:lnTo>
                  <a:lnTo>
                    <a:pt x="432" y="3744"/>
                  </a:lnTo>
                  <a:lnTo>
                    <a:pt x="444" y="3744"/>
                  </a:lnTo>
                  <a:lnTo>
                    <a:pt x="444" y="3738"/>
                  </a:lnTo>
                  <a:lnTo>
                    <a:pt x="450" y="3732"/>
                  </a:lnTo>
                  <a:lnTo>
                    <a:pt x="450" y="3738"/>
                  </a:lnTo>
                  <a:lnTo>
                    <a:pt x="462" y="3738"/>
                  </a:lnTo>
                  <a:lnTo>
                    <a:pt x="456" y="3726"/>
                  </a:lnTo>
                  <a:lnTo>
                    <a:pt x="480" y="3720"/>
                  </a:lnTo>
                  <a:lnTo>
                    <a:pt x="480" y="3696"/>
                  </a:lnTo>
                  <a:lnTo>
                    <a:pt x="492" y="3690"/>
                  </a:lnTo>
                  <a:lnTo>
                    <a:pt x="516" y="3684"/>
                  </a:lnTo>
                  <a:lnTo>
                    <a:pt x="516" y="3660"/>
                  </a:lnTo>
                  <a:lnTo>
                    <a:pt x="510" y="3666"/>
                  </a:lnTo>
                  <a:lnTo>
                    <a:pt x="504" y="3648"/>
                  </a:lnTo>
                  <a:lnTo>
                    <a:pt x="498" y="3642"/>
                  </a:lnTo>
                  <a:lnTo>
                    <a:pt x="474" y="3642"/>
                  </a:lnTo>
                  <a:lnTo>
                    <a:pt x="456" y="3642"/>
                  </a:lnTo>
                  <a:lnTo>
                    <a:pt x="438" y="3660"/>
                  </a:lnTo>
                  <a:lnTo>
                    <a:pt x="426" y="3660"/>
                  </a:lnTo>
                  <a:lnTo>
                    <a:pt x="420" y="3660"/>
                  </a:lnTo>
                  <a:lnTo>
                    <a:pt x="414" y="3660"/>
                  </a:lnTo>
                  <a:lnTo>
                    <a:pt x="408" y="3654"/>
                  </a:lnTo>
                  <a:lnTo>
                    <a:pt x="402" y="3642"/>
                  </a:lnTo>
                  <a:lnTo>
                    <a:pt x="408" y="3642"/>
                  </a:lnTo>
                  <a:lnTo>
                    <a:pt x="408" y="3636"/>
                  </a:lnTo>
                  <a:lnTo>
                    <a:pt x="408" y="3630"/>
                  </a:lnTo>
                  <a:lnTo>
                    <a:pt x="414" y="3630"/>
                  </a:lnTo>
                  <a:lnTo>
                    <a:pt x="420" y="3618"/>
                  </a:lnTo>
                  <a:lnTo>
                    <a:pt x="420" y="3612"/>
                  </a:lnTo>
                  <a:lnTo>
                    <a:pt x="420" y="3606"/>
                  </a:lnTo>
                  <a:lnTo>
                    <a:pt x="414" y="3594"/>
                  </a:lnTo>
                  <a:lnTo>
                    <a:pt x="402" y="3576"/>
                  </a:lnTo>
                  <a:lnTo>
                    <a:pt x="408" y="3570"/>
                  </a:lnTo>
                  <a:lnTo>
                    <a:pt x="402" y="3570"/>
                  </a:lnTo>
                  <a:lnTo>
                    <a:pt x="384" y="3576"/>
                  </a:lnTo>
                  <a:lnTo>
                    <a:pt x="372" y="3582"/>
                  </a:lnTo>
                  <a:lnTo>
                    <a:pt x="360" y="3564"/>
                  </a:lnTo>
                  <a:lnTo>
                    <a:pt x="360" y="3558"/>
                  </a:lnTo>
                  <a:lnTo>
                    <a:pt x="354" y="3552"/>
                  </a:lnTo>
                  <a:lnTo>
                    <a:pt x="354" y="3540"/>
                  </a:lnTo>
                  <a:lnTo>
                    <a:pt x="354" y="3534"/>
                  </a:lnTo>
                  <a:lnTo>
                    <a:pt x="354" y="3528"/>
                  </a:lnTo>
                  <a:lnTo>
                    <a:pt x="360" y="3528"/>
                  </a:lnTo>
                  <a:lnTo>
                    <a:pt x="360" y="3534"/>
                  </a:lnTo>
                  <a:lnTo>
                    <a:pt x="366" y="3528"/>
                  </a:lnTo>
                  <a:lnTo>
                    <a:pt x="378" y="3528"/>
                  </a:lnTo>
                  <a:lnTo>
                    <a:pt x="378" y="3516"/>
                  </a:lnTo>
                  <a:lnTo>
                    <a:pt x="378" y="3504"/>
                  </a:lnTo>
                  <a:lnTo>
                    <a:pt x="378" y="3492"/>
                  </a:lnTo>
                  <a:lnTo>
                    <a:pt x="378" y="3486"/>
                  </a:lnTo>
                  <a:lnTo>
                    <a:pt x="384" y="3480"/>
                  </a:lnTo>
                  <a:lnTo>
                    <a:pt x="378" y="3462"/>
                  </a:lnTo>
                  <a:lnTo>
                    <a:pt x="378" y="3450"/>
                  </a:lnTo>
                  <a:lnTo>
                    <a:pt x="360" y="3450"/>
                  </a:lnTo>
                  <a:lnTo>
                    <a:pt x="366" y="3444"/>
                  </a:lnTo>
                  <a:lnTo>
                    <a:pt x="384" y="3450"/>
                  </a:lnTo>
                  <a:lnTo>
                    <a:pt x="384" y="3444"/>
                  </a:lnTo>
                  <a:lnTo>
                    <a:pt x="396" y="3444"/>
                  </a:lnTo>
                  <a:lnTo>
                    <a:pt x="396" y="3438"/>
                  </a:lnTo>
                  <a:lnTo>
                    <a:pt x="402" y="3432"/>
                  </a:lnTo>
                  <a:lnTo>
                    <a:pt x="414" y="3438"/>
                  </a:lnTo>
                  <a:lnTo>
                    <a:pt x="426" y="3420"/>
                  </a:lnTo>
                  <a:lnTo>
                    <a:pt x="426" y="3414"/>
                  </a:lnTo>
                  <a:lnTo>
                    <a:pt x="420" y="3408"/>
                  </a:lnTo>
                  <a:lnTo>
                    <a:pt x="420" y="3402"/>
                  </a:lnTo>
                  <a:lnTo>
                    <a:pt x="420" y="3396"/>
                  </a:lnTo>
                  <a:lnTo>
                    <a:pt x="426" y="3390"/>
                  </a:lnTo>
                  <a:lnTo>
                    <a:pt x="432" y="3390"/>
                  </a:lnTo>
                  <a:lnTo>
                    <a:pt x="438" y="3384"/>
                  </a:lnTo>
                  <a:lnTo>
                    <a:pt x="426" y="3366"/>
                  </a:lnTo>
                  <a:lnTo>
                    <a:pt x="426" y="3354"/>
                  </a:lnTo>
                  <a:lnTo>
                    <a:pt x="414" y="3324"/>
                  </a:lnTo>
                  <a:lnTo>
                    <a:pt x="408" y="3318"/>
                  </a:lnTo>
                  <a:lnTo>
                    <a:pt x="402" y="3312"/>
                  </a:lnTo>
                  <a:lnTo>
                    <a:pt x="402" y="3300"/>
                  </a:lnTo>
                  <a:lnTo>
                    <a:pt x="402" y="3294"/>
                  </a:lnTo>
                  <a:lnTo>
                    <a:pt x="396" y="3294"/>
                  </a:lnTo>
                  <a:lnTo>
                    <a:pt x="396" y="3288"/>
                  </a:lnTo>
                  <a:lnTo>
                    <a:pt x="396" y="3282"/>
                  </a:lnTo>
                  <a:lnTo>
                    <a:pt x="390" y="3276"/>
                  </a:lnTo>
                  <a:lnTo>
                    <a:pt x="384" y="3270"/>
                  </a:lnTo>
                  <a:lnTo>
                    <a:pt x="372" y="3270"/>
                  </a:lnTo>
                  <a:lnTo>
                    <a:pt x="372" y="3276"/>
                  </a:lnTo>
                  <a:lnTo>
                    <a:pt x="372" y="3270"/>
                  </a:lnTo>
                  <a:lnTo>
                    <a:pt x="366" y="3270"/>
                  </a:lnTo>
                  <a:lnTo>
                    <a:pt x="366" y="3264"/>
                  </a:lnTo>
                  <a:lnTo>
                    <a:pt x="366" y="3258"/>
                  </a:lnTo>
                  <a:lnTo>
                    <a:pt x="360" y="3258"/>
                  </a:lnTo>
                  <a:lnTo>
                    <a:pt x="354" y="3252"/>
                  </a:lnTo>
                  <a:lnTo>
                    <a:pt x="348" y="3246"/>
                  </a:lnTo>
                  <a:lnTo>
                    <a:pt x="354" y="3240"/>
                  </a:lnTo>
                  <a:lnTo>
                    <a:pt x="366" y="3234"/>
                  </a:lnTo>
                  <a:lnTo>
                    <a:pt x="372" y="3234"/>
                  </a:lnTo>
                  <a:lnTo>
                    <a:pt x="372" y="3228"/>
                  </a:lnTo>
                  <a:lnTo>
                    <a:pt x="378" y="3222"/>
                  </a:lnTo>
                  <a:lnTo>
                    <a:pt x="378" y="3216"/>
                  </a:lnTo>
                  <a:lnTo>
                    <a:pt x="378" y="3204"/>
                  </a:lnTo>
                  <a:lnTo>
                    <a:pt x="372" y="3204"/>
                  </a:lnTo>
                  <a:lnTo>
                    <a:pt x="366" y="3198"/>
                  </a:lnTo>
                  <a:lnTo>
                    <a:pt x="366" y="3192"/>
                  </a:lnTo>
                  <a:lnTo>
                    <a:pt x="372" y="3186"/>
                  </a:lnTo>
                  <a:lnTo>
                    <a:pt x="378" y="3186"/>
                  </a:lnTo>
                  <a:lnTo>
                    <a:pt x="378" y="3180"/>
                  </a:lnTo>
                  <a:lnTo>
                    <a:pt x="372" y="3180"/>
                  </a:lnTo>
                  <a:lnTo>
                    <a:pt x="366" y="3174"/>
                  </a:lnTo>
                  <a:lnTo>
                    <a:pt x="360" y="3156"/>
                  </a:lnTo>
                  <a:lnTo>
                    <a:pt x="354" y="3138"/>
                  </a:lnTo>
                  <a:lnTo>
                    <a:pt x="372" y="3126"/>
                  </a:lnTo>
                  <a:lnTo>
                    <a:pt x="378" y="3126"/>
                  </a:lnTo>
                  <a:lnTo>
                    <a:pt x="390" y="3132"/>
                  </a:lnTo>
                  <a:lnTo>
                    <a:pt x="396" y="3132"/>
                  </a:lnTo>
                  <a:lnTo>
                    <a:pt x="408" y="3132"/>
                  </a:lnTo>
                  <a:lnTo>
                    <a:pt x="408" y="3138"/>
                  </a:lnTo>
                  <a:lnTo>
                    <a:pt x="414" y="3138"/>
                  </a:lnTo>
                  <a:lnTo>
                    <a:pt x="408" y="3144"/>
                  </a:lnTo>
                  <a:lnTo>
                    <a:pt x="408" y="3150"/>
                  </a:lnTo>
                  <a:lnTo>
                    <a:pt x="408" y="3156"/>
                  </a:lnTo>
                  <a:lnTo>
                    <a:pt x="408" y="3150"/>
                  </a:lnTo>
                  <a:lnTo>
                    <a:pt x="414" y="3150"/>
                  </a:lnTo>
                  <a:lnTo>
                    <a:pt x="414" y="3156"/>
                  </a:lnTo>
                  <a:lnTo>
                    <a:pt x="420" y="3156"/>
                  </a:lnTo>
                  <a:lnTo>
                    <a:pt x="426" y="3156"/>
                  </a:lnTo>
                  <a:lnTo>
                    <a:pt x="426" y="3162"/>
                  </a:lnTo>
                  <a:lnTo>
                    <a:pt x="426" y="3168"/>
                  </a:lnTo>
                  <a:lnTo>
                    <a:pt x="432" y="3162"/>
                  </a:lnTo>
                  <a:lnTo>
                    <a:pt x="438" y="3156"/>
                  </a:lnTo>
                  <a:lnTo>
                    <a:pt x="438" y="3150"/>
                  </a:lnTo>
                  <a:lnTo>
                    <a:pt x="444" y="3150"/>
                  </a:lnTo>
                  <a:lnTo>
                    <a:pt x="444" y="3144"/>
                  </a:lnTo>
                  <a:lnTo>
                    <a:pt x="438" y="3132"/>
                  </a:lnTo>
                  <a:lnTo>
                    <a:pt x="444" y="3132"/>
                  </a:lnTo>
                  <a:lnTo>
                    <a:pt x="450" y="3132"/>
                  </a:lnTo>
                  <a:lnTo>
                    <a:pt x="450" y="3126"/>
                  </a:lnTo>
                  <a:lnTo>
                    <a:pt x="450" y="3120"/>
                  </a:lnTo>
                  <a:lnTo>
                    <a:pt x="462" y="3120"/>
                  </a:lnTo>
                  <a:lnTo>
                    <a:pt x="462" y="3126"/>
                  </a:lnTo>
                  <a:lnTo>
                    <a:pt x="468" y="3120"/>
                  </a:lnTo>
                  <a:lnTo>
                    <a:pt x="474" y="3126"/>
                  </a:lnTo>
                  <a:lnTo>
                    <a:pt x="480" y="3120"/>
                  </a:lnTo>
                  <a:lnTo>
                    <a:pt x="492" y="3132"/>
                  </a:lnTo>
                  <a:lnTo>
                    <a:pt x="510" y="3126"/>
                  </a:lnTo>
                  <a:lnTo>
                    <a:pt x="522" y="3126"/>
                  </a:lnTo>
                  <a:lnTo>
                    <a:pt x="528" y="3126"/>
                  </a:lnTo>
                  <a:lnTo>
                    <a:pt x="528" y="3120"/>
                  </a:lnTo>
                  <a:lnTo>
                    <a:pt x="528" y="3114"/>
                  </a:lnTo>
                  <a:lnTo>
                    <a:pt x="534" y="3108"/>
                  </a:lnTo>
                  <a:lnTo>
                    <a:pt x="534" y="3102"/>
                  </a:lnTo>
                  <a:lnTo>
                    <a:pt x="540" y="3096"/>
                  </a:lnTo>
                  <a:lnTo>
                    <a:pt x="546" y="3096"/>
                  </a:lnTo>
                  <a:lnTo>
                    <a:pt x="546" y="3090"/>
                  </a:lnTo>
                  <a:lnTo>
                    <a:pt x="540" y="3096"/>
                  </a:lnTo>
                  <a:lnTo>
                    <a:pt x="540" y="3090"/>
                  </a:lnTo>
                  <a:lnTo>
                    <a:pt x="546" y="3090"/>
                  </a:lnTo>
                  <a:lnTo>
                    <a:pt x="552" y="3090"/>
                  </a:lnTo>
                  <a:lnTo>
                    <a:pt x="552" y="3084"/>
                  </a:lnTo>
                  <a:lnTo>
                    <a:pt x="558" y="3084"/>
                  </a:lnTo>
                  <a:lnTo>
                    <a:pt x="564" y="3084"/>
                  </a:lnTo>
                  <a:lnTo>
                    <a:pt x="564" y="3078"/>
                  </a:lnTo>
                  <a:lnTo>
                    <a:pt x="564" y="3072"/>
                  </a:lnTo>
                  <a:lnTo>
                    <a:pt x="570" y="3072"/>
                  </a:lnTo>
                  <a:lnTo>
                    <a:pt x="576" y="3072"/>
                  </a:lnTo>
                  <a:lnTo>
                    <a:pt x="582" y="3066"/>
                  </a:lnTo>
                  <a:lnTo>
                    <a:pt x="582" y="3072"/>
                  </a:lnTo>
                  <a:lnTo>
                    <a:pt x="588" y="3060"/>
                  </a:lnTo>
                  <a:lnTo>
                    <a:pt x="594" y="3048"/>
                  </a:lnTo>
                  <a:lnTo>
                    <a:pt x="606" y="3036"/>
                  </a:lnTo>
                  <a:lnTo>
                    <a:pt x="618" y="3036"/>
                  </a:lnTo>
                  <a:lnTo>
                    <a:pt x="624" y="3030"/>
                  </a:lnTo>
                  <a:lnTo>
                    <a:pt x="618" y="3030"/>
                  </a:lnTo>
                  <a:lnTo>
                    <a:pt x="618" y="3024"/>
                  </a:lnTo>
                  <a:lnTo>
                    <a:pt x="624" y="3024"/>
                  </a:lnTo>
                  <a:lnTo>
                    <a:pt x="636" y="3018"/>
                  </a:lnTo>
                  <a:lnTo>
                    <a:pt x="630" y="3006"/>
                  </a:lnTo>
                  <a:lnTo>
                    <a:pt x="636" y="2994"/>
                  </a:lnTo>
                  <a:lnTo>
                    <a:pt x="642" y="2976"/>
                  </a:lnTo>
                  <a:lnTo>
                    <a:pt x="636" y="2970"/>
                  </a:lnTo>
                  <a:lnTo>
                    <a:pt x="630" y="2964"/>
                  </a:lnTo>
                  <a:lnTo>
                    <a:pt x="624" y="2952"/>
                  </a:lnTo>
                  <a:lnTo>
                    <a:pt x="624" y="2946"/>
                  </a:lnTo>
                  <a:lnTo>
                    <a:pt x="612" y="2928"/>
                  </a:lnTo>
                  <a:lnTo>
                    <a:pt x="624" y="2916"/>
                  </a:lnTo>
                  <a:lnTo>
                    <a:pt x="630" y="2910"/>
                  </a:lnTo>
                  <a:lnTo>
                    <a:pt x="636" y="2922"/>
                  </a:lnTo>
                  <a:lnTo>
                    <a:pt x="666" y="2904"/>
                  </a:lnTo>
                  <a:lnTo>
                    <a:pt x="666" y="2892"/>
                  </a:lnTo>
                  <a:lnTo>
                    <a:pt x="684" y="2874"/>
                  </a:lnTo>
                  <a:lnTo>
                    <a:pt x="678" y="2856"/>
                  </a:lnTo>
                  <a:lnTo>
                    <a:pt x="690" y="2844"/>
                  </a:lnTo>
                  <a:lnTo>
                    <a:pt x="684" y="2838"/>
                  </a:lnTo>
                  <a:lnTo>
                    <a:pt x="678" y="2838"/>
                  </a:lnTo>
                  <a:lnTo>
                    <a:pt x="672" y="2832"/>
                  </a:lnTo>
                  <a:lnTo>
                    <a:pt x="666" y="2832"/>
                  </a:lnTo>
                  <a:lnTo>
                    <a:pt x="660" y="2820"/>
                  </a:lnTo>
                  <a:lnTo>
                    <a:pt x="654" y="2814"/>
                  </a:lnTo>
                  <a:lnTo>
                    <a:pt x="654" y="2808"/>
                  </a:lnTo>
                  <a:lnTo>
                    <a:pt x="648" y="2802"/>
                  </a:lnTo>
                  <a:lnTo>
                    <a:pt x="636" y="2808"/>
                  </a:lnTo>
                  <a:lnTo>
                    <a:pt x="630" y="2808"/>
                  </a:lnTo>
                  <a:lnTo>
                    <a:pt x="618" y="2790"/>
                  </a:lnTo>
                  <a:lnTo>
                    <a:pt x="624" y="2784"/>
                  </a:lnTo>
                  <a:lnTo>
                    <a:pt x="624" y="2778"/>
                  </a:lnTo>
                  <a:lnTo>
                    <a:pt x="630" y="2772"/>
                  </a:lnTo>
                  <a:lnTo>
                    <a:pt x="630" y="2766"/>
                  </a:lnTo>
                  <a:lnTo>
                    <a:pt x="624" y="2754"/>
                  </a:lnTo>
                  <a:lnTo>
                    <a:pt x="618" y="2742"/>
                  </a:lnTo>
                  <a:lnTo>
                    <a:pt x="618" y="2736"/>
                  </a:lnTo>
                  <a:lnTo>
                    <a:pt x="624" y="2718"/>
                  </a:lnTo>
                  <a:lnTo>
                    <a:pt x="618" y="2718"/>
                  </a:lnTo>
                  <a:lnTo>
                    <a:pt x="606" y="2718"/>
                  </a:lnTo>
                  <a:lnTo>
                    <a:pt x="594" y="2688"/>
                  </a:lnTo>
                  <a:lnTo>
                    <a:pt x="570" y="2682"/>
                  </a:lnTo>
                  <a:lnTo>
                    <a:pt x="570" y="2676"/>
                  </a:lnTo>
                  <a:lnTo>
                    <a:pt x="564" y="2676"/>
                  </a:lnTo>
                  <a:lnTo>
                    <a:pt x="558" y="2676"/>
                  </a:lnTo>
                  <a:lnTo>
                    <a:pt x="558" y="2682"/>
                  </a:lnTo>
                  <a:lnTo>
                    <a:pt x="546" y="2682"/>
                  </a:lnTo>
                  <a:lnTo>
                    <a:pt x="540" y="2694"/>
                  </a:lnTo>
                  <a:lnTo>
                    <a:pt x="522" y="2700"/>
                  </a:lnTo>
                  <a:lnTo>
                    <a:pt x="516" y="2706"/>
                  </a:lnTo>
                  <a:lnTo>
                    <a:pt x="510" y="2706"/>
                  </a:lnTo>
                  <a:lnTo>
                    <a:pt x="504" y="2706"/>
                  </a:lnTo>
                  <a:lnTo>
                    <a:pt x="486" y="2700"/>
                  </a:lnTo>
                  <a:lnTo>
                    <a:pt x="480" y="2694"/>
                  </a:lnTo>
                  <a:lnTo>
                    <a:pt x="474" y="2694"/>
                  </a:lnTo>
                  <a:lnTo>
                    <a:pt x="468" y="2688"/>
                  </a:lnTo>
                  <a:lnTo>
                    <a:pt x="456" y="2682"/>
                  </a:lnTo>
                  <a:lnTo>
                    <a:pt x="450" y="2676"/>
                  </a:lnTo>
                  <a:lnTo>
                    <a:pt x="444" y="2670"/>
                  </a:lnTo>
                  <a:lnTo>
                    <a:pt x="426" y="2664"/>
                  </a:lnTo>
                  <a:lnTo>
                    <a:pt x="414" y="2664"/>
                  </a:lnTo>
                  <a:lnTo>
                    <a:pt x="402" y="2658"/>
                  </a:lnTo>
                  <a:lnTo>
                    <a:pt x="396" y="2670"/>
                  </a:lnTo>
                  <a:lnTo>
                    <a:pt x="390" y="2670"/>
                  </a:lnTo>
                  <a:lnTo>
                    <a:pt x="384" y="2670"/>
                  </a:lnTo>
                  <a:lnTo>
                    <a:pt x="378" y="2670"/>
                  </a:lnTo>
                  <a:lnTo>
                    <a:pt x="378" y="2664"/>
                  </a:lnTo>
                  <a:lnTo>
                    <a:pt x="366" y="2670"/>
                  </a:lnTo>
                  <a:lnTo>
                    <a:pt x="366" y="2664"/>
                  </a:lnTo>
                  <a:lnTo>
                    <a:pt x="360" y="2658"/>
                  </a:lnTo>
                  <a:lnTo>
                    <a:pt x="360" y="2652"/>
                  </a:lnTo>
                  <a:lnTo>
                    <a:pt x="354" y="2652"/>
                  </a:lnTo>
                  <a:lnTo>
                    <a:pt x="348" y="2652"/>
                  </a:lnTo>
                  <a:lnTo>
                    <a:pt x="342" y="2652"/>
                  </a:lnTo>
                  <a:lnTo>
                    <a:pt x="336" y="2652"/>
                  </a:lnTo>
                  <a:lnTo>
                    <a:pt x="330" y="2652"/>
                  </a:lnTo>
                  <a:lnTo>
                    <a:pt x="324" y="2652"/>
                  </a:lnTo>
                  <a:lnTo>
                    <a:pt x="318" y="2646"/>
                  </a:lnTo>
                  <a:lnTo>
                    <a:pt x="300" y="2646"/>
                  </a:lnTo>
                  <a:lnTo>
                    <a:pt x="300" y="2640"/>
                  </a:lnTo>
                  <a:lnTo>
                    <a:pt x="294" y="2640"/>
                  </a:lnTo>
                  <a:lnTo>
                    <a:pt x="288" y="2640"/>
                  </a:lnTo>
                  <a:lnTo>
                    <a:pt x="276" y="2634"/>
                  </a:lnTo>
                  <a:lnTo>
                    <a:pt x="276" y="2628"/>
                  </a:lnTo>
                  <a:lnTo>
                    <a:pt x="288" y="2622"/>
                  </a:lnTo>
                  <a:lnTo>
                    <a:pt x="300" y="2610"/>
                  </a:lnTo>
                  <a:lnTo>
                    <a:pt x="306" y="2610"/>
                  </a:lnTo>
                  <a:lnTo>
                    <a:pt x="300" y="2604"/>
                  </a:lnTo>
                  <a:lnTo>
                    <a:pt x="300" y="2598"/>
                  </a:lnTo>
                  <a:lnTo>
                    <a:pt x="306" y="2598"/>
                  </a:lnTo>
                  <a:lnTo>
                    <a:pt x="306" y="2592"/>
                  </a:lnTo>
                  <a:lnTo>
                    <a:pt x="306" y="2580"/>
                  </a:lnTo>
                  <a:lnTo>
                    <a:pt x="306" y="2574"/>
                  </a:lnTo>
                  <a:lnTo>
                    <a:pt x="306" y="2568"/>
                  </a:lnTo>
                  <a:lnTo>
                    <a:pt x="312" y="2562"/>
                  </a:lnTo>
                  <a:lnTo>
                    <a:pt x="324" y="2580"/>
                  </a:lnTo>
                  <a:lnTo>
                    <a:pt x="324" y="2592"/>
                  </a:lnTo>
                  <a:lnTo>
                    <a:pt x="336" y="2592"/>
                  </a:lnTo>
                  <a:lnTo>
                    <a:pt x="348" y="2592"/>
                  </a:lnTo>
                  <a:lnTo>
                    <a:pt x="348" y="2574"/>
                  </a:lnTo>
                  <a:lnTo>
                    <a:pt x="354" y="2574"/>
                  </a:lnTo>
                  <a:lnTo>
                    <a:pt x="360" y="2568"/>
                  </a:lnTo>
                  <a:lnTo>
                    <a:pt x="354" y="2562"/>
                  </a:lnTo>
                  <a:lnTo>
                    <a:pt x="360" y="2556"/>
                  </a:lnTo>
                  <a:lnTo>
                    <a:pt x="366" y="2556"/>
                  </a:lnTo>
                  <a:lnTo>
                    <a:pt x="372" y="2544"/>
                  </a:lnTo>
                  <a:lnTo>
                    <a:pt x="378" y="2544"/>
                  </a:lnTo>
                  <a:lnTo>
                    <a:pt x="384" y="2544"/>
                  </a:lnTo>
                  <a:lnTo>
                    <a:pt x="390" y="2538"/>
                  </a:lnTo>
                  <a:lnTo>
                    <a:pt x="396" y="2538"/>
                  </a:lnTo>
                  <a:lnTo>
                    <a:pt x="402" y="2526"/>
                  </a:lnTo>
                  <a:lnTo>
                    <a:pt x="408" y="2526"/>
                  </a:lnTo>
                  <a:lnTo>
                    <a:pt x="426" y="2520"/>
                  </a:lnTo>
                  <a:lnTo>
                    <a:pt x="432" y="2520"/>
                  </a:lnTo>
                  <a:lnTo>
                    <a:pt x="432" y="2514"/>
                  </a:lnTo>
                  <a:lnTo>
                    <a:pt x="432" y="2508"/>
                  </a:lnTo>
                  <a:lnTo>
                    <a:pt x="438" y="2502"/>
                  </a:lnTo>
                  <a:lnTo>
                    <a:pt x="420" y="2472"/>
                  </a:lnTo>
                  <a:lnTo>
                    <a:pt x="420" y="2466"/>
                  </a:lnTo>
                  <a:lnTo>
                    <a:pt x="426" y="2466"/>
                  </a:lnTo>
                  <a:lnTo>
                    <a:pt x="432" y="2460"/>
                  </a:lnTo>
                  <a:lnTo>
                    <a:pt x="432" y="2454"/>
                  </a:lnTo>
                  <a:lnTo>
                    <a:pt x="426" y="2448"/>
                  </a:lnTo>
                  <a:lnTo>
                    <a:pt x="432" y="2442"/>
                  </a:lnTo>
                  <a:lnTo>
                    <a:pt x="456" y="2442"/>
                  </a:lnTo>
                  <a:lnTo>
                    <a:pt x="462" y="2442"/>
                  </a:lnTo>
                  <a:lnTo>
                    <a:pt x="474" y="2436"/>
                  </a:lnTo>
                  <a:lnTo>
                    <a:pt x="480" y="2430"/>
                  </a:lnTo>
                  <a:lnTo>
                    <a:pt x="486" y="2424"/>
                  </a:lnTo>
                  <a:lnTo>
                    <a:pt x="498" y="2430"/>
                  </a:lnTo>
                  <a:lnTo>
                    <a:pt x="510" y="2418"/>
                  </a:lnTo>
                  <a:lnTo>
                    <a:pt x="528" y="2424"/>
                  </a:lnTo>
                  <a:lnTo>
                    <a:pt x="534" y="2424"/>
                  </a:lnTo>
                  <a:lnTo>
                    <a:pt x="546" y="2418"/>
                  </a:lnTo>
                  <a:lnTo>
                    <a:pt x="552" y="2430"/>
                  </a:lnTo>
                  <a:lnTo>
                    <a:pt x="552" y="2436"/>
                  </a:lnTo>
                  <a:lnTo>
                    <a:pt x="558" y="2442"/>
                  </a:lnTo>
                  <a:lnTo>
                    <a:pt x="564" y="2448"/>
                  </a:lnTo>
                  <a:lnTo>
                    <a:pt x="576" y="2448"/>
                  </a:lnTo>
                  <a:lnTo>
                    <a:pt x="594" y="2454"/>
                  </a:lnTo>
                  <a:lnTo>
                    <a:pt x="612" y="2454"/>
                  </a:lnTo>
                  <a:lnTo>
                    <a:pt x="618" y="2454"/>
                  </a:lnTo>
                  <a:lnTo>
                    <a:pt x="636" y="2454"/>
                  </a:lnTo>
                  <a:lnTo>
                    <a:pt x="648" y="2454"/>
                  </a:lnTo>
                  <a:lnTo>
                    <a:pt x="654" y="2454"/>
                  </a:lnTo>
                  <a:lnTo>
                    <a:pt x="660" y="2454"/>
                  </a:lnTo>
                  <a:lnTo>
                    <a:pt x="660" y="2460"/>
                  </a:lnTo>
                  <a:lnTo>
                    <a:pt x="666" y="2478"/>
                  </a:lnTo>
                  <a:lnTo>
                    <a:pt x="678" y="2502"/>
                  </a:lnTo>
                  <a:lnTo>
                    <a:pt x="678" y="2508"/>
                  </a:lnTo>
                  <a:lnTo>
                    <a:pt x="684" y="2520"/>
                  </a:lnTo>
                  <a:lnTo>
                    <a:pt x="690" y="2520"/>
                  </a:lnTo>
                  <a:lnTo>
                    <a:pt x="696" y="2532"/>
                  </a:lnTo>
                  <a:lnTo>
                    <a:pt x="702" y="2544"/>
                  </a:lnTo>
                  <a:lnTo>
                    <a:pt x="708" y="2556"/>
                  </a:lnTo>
                  <a:lnTo>
                    <a:pt x="714" y="2556"/>
                  </a:lnTo>
                  <a:lnTo>
                    <a:pt x="720" y="2556"/>
                  </a:lnTo>
                  <a:lnTo>
                    <a:pt x="726" y="2556"/>
                  </a:lnTo>
                  <a:lnTo>
                    <a:pt x="798" y="2550"/>
                  </a:lnTo>
                  <a:lnTo>
                    <a:pt x="816" y="2544"/>
                  </a:lnTo>
                  <a:lnTo>
                    <a:pt x="828" y="2502"/>
                  </a:lnTo>
                  <a:lnTo>
                    <a:pt x="846" y="2484"/>
                  </a:lnTo>
                  <a:lnTo>
                    <a:pt x="858" y="2466"/>
                  </a:lnTo>
                  <a:lnTo>
                    <a:pt x="864" y="2466"/>
                  </a:lnTo>
                  <a:lnTo>
                    <a:pt x="870" y="2526"/>
                  </a:lnTo>
                  <a:lnTo>
                    <a:pt x="876" y="2526"/>
                  </a:lnTo>
                  <a:lnTo>
                    <a:pt x="888" y="2526"/>
                  </a:lnTo>
                  <a:lnTo>
                    <a:pt x="924" y="2526"/>
                  </a:lnTo>
                  <a:lnTo>
                    <a:pt x="942" y="2520"/>
                  </a:lnTo>
                  <a:lnTo>
                    <a:pt x="990" y="2508"/>
                  </a:lnTo>
                  <a:lnTo>
                    <a:pt x="1044" y="2490"/>
                  </a:lnTo>
                  <a:lnTo>
                    <a:pt x="1050" y="2490"/>
                  </a:lnTo>
                  <a:lnTo>
                    <a:pt x="1092" y="2478"/>
                  </a:lnTo>
                  <a:lnTo>
                    <a:pt x="1134" y="2466"/>
                  </a:lnTo>
                  <a:lnTo>
                    <a:pt x="1146" y="2466"/>
                  </a:lnTo>
                  <a:lnTo>
                    <a:pt x="1164" y="2460"/>
                  </a:lnTo>
                  <a:lnTo>
                    <a:pt x="1128" y="2424"/>
                  </a:lnTo>
                  <a:lnTo>
                    <a:pt x="1122" y="2382"/>
                  </a:lnTo>
                  <a:lnTo>
                    <a:pt x="1122" y="2370"/>
                  </a:lnTo>
                  <a:lnTo>
                    <a:pt x="1116" y="2346"/>
                  </a:lnTo>
                  <a:lnTo>
                    <a:pt x="1110" y="2328"/>
                  </a:lnTo>
                  <a:lnTo>
                    <a:pt x="1104" y="2328"/>
                  </a:lnTo>
                  <a:lnTo>
                    <a:pt x="1104" y="2310"/>
                  </a:lnTo>
                  <a:lnTo>
                    <a:pt x="1092" y="2298"/>
                  </a:lnTo>
                  <a:lnTo>
                    <a:pt x="1092" y="2292"/>
                  </a:lnTo>
                  <a:lnTo>
                    <a:pt x="1104" y="2280"/>
                  </a:lnTo>
                  <a:lnTo>
                    <a:pt x="1116" y="2268"/>
                  </a:lnTo>
                  <a:lnTo>
                    <a:pt x="1122" y="2268"/>
                  </a:lnTo>
                  <a:lnTo>
                    <a:pt x="1110" y="2256"/>
                  </a:lnTo>
                  <a:lnTo>
                    <a:pt x="1098" y="2244"/>
                  </a:lnTo>
                  <a:lnTo>
                    <a:pt x="1098" y="2238"/>
                  </a:lnTo>
                  <a:lnTo>
                    <a:pt x="1080" y="2232"/>
                  </a:lnTo>
                  <a:lnTo>
                    <a:pt x="1080" y="2226"/>
                  </a:lnTo>
                  <a:lnTo>
                    <a:pt x="1074" y="2220"/>
                  </a:lnTo>
                  <a:lnTo>
                    <a:pt x="1080" y="2208"/>
                  </a:lnTo>
                  <a:lnTo>
                    <a:pt x="1026" y="2172"/>
                  </a:lnTo>
                  <a:lnTo>
                    <a:pt x="1032" y="2154"/>
                  </a:lnTo>
                  <a:lnTo>
                    <a:pt x="1062" y="2154"/>
                  </a:lnTo>
                  <a:lnTo>
                    <a:pt x="1074" y="2148"/>
                  </a:lnTo>
                  <a:lnTo>
                    <a:pt x="1074" y="2142"/>
                  </a:lnTo>
                  <a:lnTo>
                    <a:pt x="1110" y="2130"/>
                  </a:lnTo>
                  <a:lnTo>
                    <a:pt x="1110" y="2136"/>
                  </a:lnTo>
                  <a:lnTo>
                    <a:pt x="1122" y="2136"/>
                  </a:lnTo>
                  <a:lnTo>
                    <a:pt x="1122" y="2124"/>
                  </a:lnTo>
                  <a:lnTo>
                    <a:pt x="1140" y="2082"/>
                  </a:lnTo>
                  <a:lnTo>
                    <a:pt x="1128" y="2076"/>
                  </a:lnTo>
                  <a:lnTo>
                    <a:pt x="1134" y="2058"/>
                  </a:lnTo>
                  <a:lnTo>
                    <a:pt x="1146" y="2028"/>
                  </a:lnTo>
                  <a:lnTo>
                    <a:pt x="1116" y="2016"/>
                  </a:lnTo>
                  <a:lnTo>
                    <a:pt x="1122" y="2004"/>
                  </a:lnTo>
                  <a:lnTo>
                    <a:pt x="1128" y="1998"/>
                  </a:lnTo>
                  <a:lnTo>
                    <a:pt x="1146" y="1962"/>
                  </a:lnTo>
                  <a:lnTo>
                    <a:pt x="1116" y="1950"/>
                  </a:lnTo>
                  <a:lnTo>
                    <a:pt x="1116" y="1944"/>
                  </a:lnTo>
                  <a:lnTo>
                    <a:pt x="1134" y="1920"/>
                  </a:lnTo>
                  <a:lnTo>
                    <a:pt x="1140" y="1914"/>
                  </a:lnTo>
                  <a:lnTo>
                    <a:pt x="1158" y="1902"/>
                  </a:lnTo>
                  <a:lnTo>
                    <a:pt x="1164" y="1890"/>
                  </a:lnTo>
                  <a:lnTo>
                    <a:pt x="1176" y="1878"/>
                  </a:lnTo>
                  <a:lnTo>
                    <a:pt x="1194" y="1860"/>
                  </a:lnTo>
                  <a:lnTo>
                    <a:pt x="1206" y="1854"/>
                  </a:lnTo>
                  <a:lnTo>
                    <a:pt x="1212" y="1854"/>
                  </a:lnTo>
                  <a:lnTo>
                    <a:pt x="1224" y="1848"/>
                  </a:lnTo>
                  <a:lnTo>
                    <a:pt x="1224" y="1842"/>
                  </a:lnTo>
                  <a:lnTo>
                    <a:pt x="1230" y="1842"/>
                  </a:lnTo>
                  <a:lnTo>
                    <a:pt x="1260" y="1836"/>
                  </a:lnTo>
                  <a:lnTo>
                    <a:pt x="1278" y="1842"/>
                  </a:lnTo>
                  <a:lnTo>
                    <a:pt x="1296" y="1824"/>
                  </a:lnTo>
                  <a:lnTo>
                    <a:pt x="1308" y="1842"/>
                  </a:lnTo>
                  <a:lnTo>
                    <a:pt x="1314" y="1854"/>
                  </a:lnTo>
                  <a:lnTo>
                    <a:pt x="1326" y="1860"/>
                  </a:lnTo>
                  <a:lnTo>
                    <a:pt x="1344" y="1866"/>
                  </a:lnTo>
                  <a:lnTo>
                    <a:pt x="1362" y="1866"/>
                  </a:lnTo>
                  <a:lnTo>
                    <a:pt x="1380" y="1860"/>
                  </a:lnTo>
                  <a:lnTo>
                    <a:pt x="1398" y="1866"/>
                  </a:lnTo>
                  <a:lnTo>
                    <a:pt x="1416" y="1866"/>
                  </a:lnTo>
                  <a:lnTo>
                    <a:pt x="1434" y="1866"/>
                  </a:lnTo>
                  <a:lnTo>
                    <a:pt x="1446" y="1878"/>
                  </a:lnTo>
                  <a:lnTo>
                    <a:pt x="1452" y="1884"/>
                  </a:lnTo>
                  <a:lnTo>
                    <a:pt x="1482" y="1914"/>
                  </a:lnTo>
                  <a:lnTo>
                    <a:pt x="1494" y="1920"/>
                  </a:lnTo>
                  <a:lnTo>
                    <a:pt x="1506" y="1926"/>
                  </a:lnTo>
                  <a:lnTo>
                    <a:pt x="1518" y="1938"/>
                  </a:lnTo>
                  <a:lnTo>
                    <a:pt x="1530" y="1950"/>
                  </a:lnTo>
                  <a:lnTo>
                    <a:pt x="1542" y="1962"/>
                  </a:lnTo>
                  <a:lnTo>
                    <a:pt x="1554" y="1974"/>
                  </a:lnTo>
                  <a:lnTo>
                    <a:pt x="1566" y="1986"/>
                  </a:lnTo>
                  <a:lnTo>
                    <a:pt x="1578" y="2004"/>
                  </a:lnTo>
                  <a:lnTo>
                    <a:pt x="1584" y="2010"/>
                  </a:lnTo>
                  <a:lnTo>
                    <a:pt x="1584" y="2022"/>
                  </a:lnTo>
                  <a:lnTo>
                    <a:pt x="1596" y="2040"/>
                  </a:lnTo>
                  <a:lnTo>
                    <a:pt x="1596" y="2046"/>
                  </a:lnTo>
                  <a:lnTo>
                    <a:pt x="1608" y="2058"/>
                  </a:lnTo>
                  <a:lnTo>
                    <a:pt x="1620" y="2064"/>
                  </a:lnTo>
                  <a:lnTo>
                    <a:pt x="1638" y="2070"/>
                  </a:lnTo>
                  <a:lnTo>
                    <a:pt x="1662" y="2088"/>
                  </a:lnTo>
                  <a:lnTo>
                    <a:pt x="1674" y="2094"/>
                  </a:lnTo>
                  <a:lnTo>
                    <a:pt x="1686" y="2094"/>
                  </a:lnTo>
                  <a:lnTo>
                    <a:pt x="1698" y="2088"/>
                  </a:lnTo>
                  <a:lnTo>
                    <a:pt x="1710" y="2094"/>
                  </a:lnTo>
                  <a:lnTo>
                    <a:pt x="1716" y="2112"/>
                  </a:lnTo>
                  <a:lnTo>
                    <a:pt x="1722" y="2118"/>
                  </a:lnTo>
                  <a:lnTo>
                    <a:pt x="1740" y="2148"/>
                  </a:lnTo>
                  <a:lnTo>
                    <a:pt x="1758" y="2178"/>
                  </a:lnTo>
                  <a:lnTo>
                    <a:pt x="1764" y="2184"/>
                  </a:lnTo>
                  <a:lnTo>
                    <a:pt x="1770" y="2184"/>
                  </a:lnTo>
                  <a:lnTo>
                    <a:pt x="1776" y="2190"/>
                  </a:lnTo>
                  <a:lnTo>
                    <a:pt x="1794" y="2184"/>
                  </a:lnTo>
                  <a:lnTo>
                    <a:pt x="1800" y="2178"/>
                  </a:lnTo>
                  <a:lnTo>
                    <a:pt x="1812" y="2178"/>
                  </a:lnTo>
                  <a:lnTo>
                    <a:pt x="1824" y="2178"/>
                  </a:lnTo>
                  <a:lnTo>
                    <a:pt x="1830" y="2184"/>
                  </a:lnTo>
                  <a:lnTo>
                    <a:pt x="1848" y="2196"/>
                  </a:lnTo>
                  <a:lnTo>
                    <a:pt x="1878" y="2220"/>
                  </a:lnTo>
                  <a:lnTo>
                    <a:pt x="1890" y="2226"/>
                  </a:lnTo>
                  <a:lnTo>
                    <a:pt x="1902" y="2226"/>
                  </a:lnTo>
                  <a:lnTo>
                    <a:pt x="1914" y="2232"/>
                  </a:lnTo>
                  <a:lnTo>
                    <a:pt x="1938" y="2244"/>
                  </a:lnTo>
                  <a:lnTo>
                    <a:pt x="1944" y="2250"/>
                  </a:lnTo>
                  <a:lnTo>
                    <a:pt x="1956" y="2256"/>
                  </a:lnTo>
                  <a:lnTo>
                    <a:pt x="1956" y="2262"/>
                  </a:lnTo>
                  <a:lnTo>
                    <a:pt x="1962" y="2268"/>
                  </a:lnTo>
                  <a:lnTo>
                    <a:pt x="1968" y="2274"/>
                  </a:lnTo>
                  <a:lnTo>
                    <a:pt x="1974" y="2280"/>
                  </a:lnTo>
                  <a:lnTo>
                    <a:pt x="1980" y="2280"/>
                  </a:lnTo>
                  <a:lnTo>
                    <a:pt x="1992" y="2286"/>
                  </a:lnTo>
                  <a:lnTo>
                    <a:pt x="2004" y="2286"/>
                  </a:lnTo>
                  <a:lnTo>
                    <a:pt x="2010" y="2292"/>
                  </a:lnTo>
                  <a:lnTo>
                    <a:pt x="2016" y="2292"/>
                  </a:lnTo>
                  <a:lnTo>
                    <a:pt x="2034" y="2292"/>
                  </a:lnTo>
                  <a:lnTo>
                    <a:pt x="2058" y="2298"/>
                  </a:lnTo>
                  <a:lnTo>
                    <a:pt x="2064" y="2298"/>
                  </a:lnTo>
                  <a:lnTo>
                    <a:pt x="2076" y="2304"/>
                  </a:lnTo>
                  <a:lnTo>
                    <a:pt x="2100" y="2298"/>
                  </a:lnTo>
                  <a:lnTo>
                    <a:pt x="2112" y="2298"/>
                  </a:lnTo>
                  <a:lnTo>
                    <a:pt x="2124" y="2298"/>
                  </a:lnTo>
                  <a:lnTo>
                    <a:pt x="2148" y="2292"/>
                  </a:lnTo>
                  <a:lnTo>
                    <a:pt x="2154" y="2292"/>
                  </a:lnTo>
                  <a:lnTo>
                    <a:pt x="2172" y="2286"/>
                  </a:lnTo>
                  <a:lnTo>
                    <a:pt x="2178" y="2286"/>
                  </a:lnTo>
                  <a:lnTo>
                    <a:pt x="2184" y="2286"/>
                  </a:lnTo>
                  <a:lnTo>
                    <a:pt x="2214" y="2292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80"/>
                  </a:lnTo>
                  <a:lnTo>
                    <a:pt x="2274" y="2274"/>
                  </a:lnTo>
                  <a:lnTo>
                    <a:pt x="2280" y="2274"/>
                  </a:lnTo>
                  <a:lnTo>
                    <a:pt x="2292" y="2274"/>
                  </a:lnTo>
                  <a:lnTo>
                    <a:pt x="2304" y="2256"/>
                  </a:lnTo>
                  <a:lnTo>
                    <a:pt x="2310" y="2250"/>
                  </a:lnTo>
                  <a:lnTo>
                    <a:pt x="2322" y="2244"/>
                  </a:lnTo>
                  <a:lnTo>
                    <a:pt x="2340" y="2250"/>
                  </a:lnTo>
                  <a:lnTo>
                    <a:pt x="2346" y="2250"/>
                  </a:lnTo>
                  <a:lnTo>
                    <a:pt x="2352" y="2256"/>
                  </a:lnTo>
                  <a:lnTo>
                    <a:pt x="2358" y="2262"/>
                  </a:lnTo>
                  <a:lnTo>
                    <a:pt x="2364" y="2262"/>
                  </a:lnTo>
                  <a:lnTo>
                    <a:pt x="2382" y="2250"/>
                  </a:lnTo>
                  <a:lnTo>
                    <a:pt x="2388" y="2244"/>
                  </a:lnTo>
                  <a:lnTo>
                    <a:pt x="2394" y="2244"/>
                  </a:lnTo>
                  <a:lnTo>
                    <a:pt x="2406" y="2238"/>
                  </a:lnTo>
                  <a:lnTo>
                    <a:pt x="2448" y="2232"/>
                  </a:lnTo>
                  <a:lnTo>
                    <a:pt x="2472" y="2226"/>
                  </a:lnTo>
                  <a:lnTo>
                    <a:pt x="2508" y="2232"/>
                  </a:lnTo>
                  <a:lnTo>
                    <a:pt x="2544" y="2232"/>
                  </a:lnTo>
                  <a:lnTo>
                    <a:pt x="2568" y="2238"/>
                  </a:lnTo>
                  <a:lnTo>
                    <a:pt x="2574" y="2238"/>
                  </a:lnTo>
                  <a:lnTo>
                    <a:pt x="2592" y="2244"/>
                  </a:lnTo>
                  <a:lnTo>
                    <a:pt x="2604" y="2244"/>
                  </a:lnTo>
                  <a:lnTo>
                    <a:pt x="2622" y="2244"/>
                  </a:lnTo>
                  <a:lnTo>
                    <a:pt x="2640" y="2238"/>
                  </a:lnTo>
                  <a:lnTo>
                    <a:pt x="2664" y="2232"/>
                  </a:lnTo>
                  <a:lnTo>
                    <a:pt x="2676" y="2232"/>
                  </a:lnTo>
                  <a:lnTo>
                    <a:pt x="2688" y="2232"/>
                  </a:lnTo>
                  <a:lnTo>
                    <a:pt x="2688" y="2238"/>
                  </a:lnTo>
                  <a:lnTo>
                    <a:pt x="2706" y="2238"/>
                  </a:lnTo>
                  <a:lnTo>
                    <a:pt x="2718" y="2238"/>
                  </a:lnTo>
                  <a:lnTo>
                    <a:pt x="2742" y="2250"/>
                  </a:lnTo>
                  <a:lnTo>
                    <a:pt x="2760" y="2250"/>
                  </a:lnTo>
                  <a:lnTo>
                    <a:pt x="2760" y="2244"/>
                  </a:lnTo>
                  <a:lnTo>
                    <a:pt x="2784" y="2238"/>
                  </a:lnTo>
                  <a:lnTo>
                    <a:pt x="2796" y="2232"/>
                  </a:lnTo>
                  <a:lnTo>
                    <a:pt x="2802" y="2232"/>
                  </a:lnTo>
                  <a:lnTo>
                    <a:pt x="2820" y="2226"/>
                  </a:lnTo>
                  <a:lnTo>
                    <a:pt x="2832" y="2220"/>
                  </a:lnTo>
                  <a:lnTo>
                    <a:pt x="2844" y="2214"/>
                  </a:lnTo>
                  <a:lnTo>
                    <a:pt x="2868" y="2202"/>
                  </a:lnTo>
                  <a:lnTo>
                    <a:pt x="2892" y="2190"/>
                  </a:lnTo>
                  <a:lnTo>
                    <a:pt x="2916" y="2184"/>
                  </a:lnTo>
                  <a:lnTo>
                    <a:pt x="2922" y="2178"/>
                  </a:lnTo>
                  <a:lnTo>
                    <a:pt x="2934" y="2172"/>
                  </a:lnTo>
                  <a:lnTo>
                    <a:pt x="2952" y="2160"/>
                  </a:lnTo>
                  <a:lnTo>
                    <a:pt x="2958" y="2154"/>
                  </a:lnTo>
                  <a:lnTo>
                    <a:pt x="2964" y="2154"/>
                  </a:lnTo>
                  <a:lnTo>
                    <a:pt x="2970" y="2154"/>
                  </a:lnTo>
                  <a:lnTo>
                    <a:pt x="2982" y="2160"/>
                  </a:lnTo>
                  <a:lnTo>
                    <a:pt x="2988" y="2160"/>
                  </a:lnTo>
                  <a:lnTo>
                    <a:pt x="2994" y="2166"/>
                  </a:lnTo>
                  <a:lnTo>
                    <a:pt x="3000" y="2166"/>
                  </a:lnTo>
                  <a:lnTo>
                    <a:pt x="3012" y="2172"/>
                  </a:lnTo>
                  <a:lnTo>
                    <a:pt x="3024" y="2172"/>
                  </a:lnTo>
                  <a:lnTo>
                    <a:pt x="3042" y="2166"/>
                  </a:lnTo>
                  <a:lnTo>
                    <a:pt x="3054" y="2160"/>
                  </a:lnTo>
                  <a:lnTo>
                    <a:pt x="3060" y="2160"/>
                  </a:lnTo>
                  <a:lnTo>
                    <a:pt x="3072" y="2142"/>
                  </a:lnTo>
                  <a:lnTo>
                    <a:pt x="3090" y="2136"/>
                  </a:lnTo>
                  <a:lnTo>
                    <a:pt x="3102" y="2136"/>
                  </a:lnTo>
                  <a:lnTo>
                    <a:pt x="3126" y="2136"/>
                  </a:lnTo>
                  <a:lnTo>
                    <a:pt x="3132" y="2136"/>
                  </a:lnTo>
                  <a:lnTo>
                    <a:pt x="3150" y="2142"/>
                  </a:lnTo>
                  <a:lnTo>
                    <a:pt x="3168" y="2142"/>
                  </a:lnTo>
                  <a:lnTo>
                    <a:pt x="3174" y="2142"/>
                  </a:lnTo>
                  <a:lnTo>
                    <a:pt x="3198" y="2142"/>
                  </a:lnTo>
                  <a:lnTo>
                    <a:pt x="3216" y="2136"/>
                  </a:lnTo>
                  <a:lnTo>
                    <a:pt x="3240" y="2130"/>
                  </a:lnTo>
                  <a:lnTo>
                    <a:pt x="3264" y="2112"/>
                  </a:lnTo>
                  <a:lnTo>
                    <a:pt x="3282" y="2094"/>
                  </a:lnTo>
                  <a:lnTo>
                    <a:pt x="3306" y="2076"/>
                  </a:lnTo>
                  <a:lnTo>
                    <a:pt x="3318" y="2064"/>
                  </a:lnTo>
                  <a:lnTo>
                    <a:pt x="3318" y="2058"/>
                  </a:lnTo>
                  <a:lnTo>
                    <a:pt x="3318" y="2052"/>
                  </a:lnTo>
                  <a:lnTo>
                    <a:pt x="3324" y="2046"/>
                  </a:lnTo>
                  <a:lnTo>
                    <a:pt x="3324" y="2034"/>
                  </a:lnTo>
                  <a:lnTo>
                    <a:pt x="3330" y="2016"/>
                  </a:lnTo>
                  <a:lnTo>
                    <a:pt x="3342" y="2004"/>
                  </a:lnTo>
                  <a:lnTo>
                    <a:pt x="3360" y="1998"/>
                  </a:lnTo>
                  <a:lnTo>
                    <a:pt x="3366" y="1998"/>
                  </a:lnTo>
                  <a:lnTo>
                    <a:pt x="3384" y="1992"/>
                  </a:lnTo>
                  <a:lnTo>
                    <a:pt x="3396" y="1986"/>
                  </a:lnTo>
                  <a:lnTo>
                    <a:pt x="3408" y="1986"/>
                  </a:lnTo>
                  <a:lnTo>
                    <a:pt x="3414" y="1986"/>
                  </a:lnTo>
                  <a:lnTo>
                    <a:pt x="3426" y="1986"/>
                  </a:lnTo>
                  <a:lnTo>
                    <a:pt x="3438" y="1992"/>
                  </a:lnTo>
                  <a:lnTo>
                    <a:pt x="3450" y="1986"/>
                  </a:lnTo>
                  <a:lnTo>
                    <a:pt x="3474" y="1986"/>
                  </a:lnTo>
                  <a:lnTo>
                    <a:pt x="3480" y="1974"/>
                  </a:lnTo>
                  <a:lnTo>
                    <a:pt x="3480" y="1968"/>
                  </a:lnTo>
                  <a:lnTo>
                    <a:pt x="3480" y="1962"/>
                  </a:lnTo>
                  <a:lnTo>
                    <a:pt x="3468" y="1962"/>
                  </a:lnTo>
                  <a:lnTo>
                    <a:pt x="3462" y="1962"/>
                  </a:lnTo>
                  <a:lnTo>
                    <a:pt x="3444" y="1962"/>
                  </a:lnTo>
                  <a:lnTo>
                    <a:pt x="3444" y="1956"/>
                  </a:lnTo>
                  <a:lnTo>
                    <a:pt x="3438" y="1956"/>
                  </a:lnTo>
                  <a:lnTo>
                    <a:pt x="3432" y="1944"/>
                  </a:lnTo>
                  <a:lnTo>
                    <a:pt x="3432" y="1932"/>
                  </a:lnTo>
                  <a:lnTo>
                    <a:pt x="3426" y="1926"/>
                  </a:lnTo>
                  <a:lnTo>
                    <a:pt x="3420" y="1926"/>
                  </a:lnTo>
                  <a:lnTo>
                    <a:pt x="3414" y="1926"/>
                  </a:lnTo>
                  <a:lnTo>
                    <a:pt x="3402" y="1920"/>
                  </a:lnTo>
                  <a:lnTo>
                    <a:pt x="3396" y="1920"/>
                  </a:lnTo>
                  <a:lnTo>
                    <a:pt x="3396" y="1914"/>
                  </a:lnTo>
                  <a:lnTo>
                    <a:pt x="3384" y="1908"/>
                  </a:lnTo>
                  <a:lnTo>
                    <a:pt x="3384" y="1902"/>
                  </a:lnTo>
                  <a:lnTo>
                    <a:pt x="3372" y="1902"/>
                  </a:lnTo>
                  <a:lnTo>
                    <a:pt x="3366" y="1896"/>
                  </a:lnTo>
                  <a:lnTo>
                    <a:pt x="3360" y="1896"/>
                  </a:lnTo>
                  <a:lnTo>
                    <a:pt x="3354" y="1890"/>
                  </a:lnTo>
                  <a:lnTo>
                    <a:pt x="3348" y="1890"/>
                  </a:lnTo>
                  <a:lnTo>
                    <a:pt x="3348" y="1866"/>
                  </a:lnTo>
                  <a:lnTo>
                    <a:pt x="3342" y="1860"/>
                  </a:lnTo>
                  <a:lnTo>
                    <a:pt x="3342" y="1854"/>
                  </a:lnTo>
                  <a:lnTo>
                    <a:pt x="3336" y="1836"/>
                  </a:lnTo>
                  <a:lnTo>
                    <a:pt x="3336" y="1830"/>
                  </a:lnTo>
                  <a:lnTo>
                    <a:pt x="3336" y="1824"/>
                  </a:lnTo>
                  <a:lnTo>
                    <a:pt x="3336" y="1818"/>
                  </a:lnTo>
                  <a:lnTo>
                    <a:pt x="3336" y="1812"/>
                  </a:lnTo>
                  <a:lnTo>
                    <a:pt x="3330" y="1800"/>
                  </a:lnTo>
                  <a:lnTo>
                    <a:pt x="3330" y="1794"/>
                  </a:lnTo>
                  <a:lnTo>
                    <a:pt x="3336" y="1794"/>
                  </a:lnTo>
                  <a:lnTo>
                    <a:pt x="3336" y="1788"/>
                  </a:lnTo>
                  <a:lnTo>
                    <a:pt x="3348" y="1776"/>
                  </a:lnTo>
                  <a:lnTo>
                    <a:pt x="3348" y="1770"/>
                  </a:lnTo>
                  <a:lnTo>
                    <a:pt x="3342" y="1764"/>
                  </a:lnTo>
                  <a:lnTo>
                    <a:pt x="3348" y="1758"/>
                  </a:lnTo>
                  <a:lnTo>
                    <a:pt x="3342" y="1752"/>
                  </a:lnTo>
                  <a:lnTo>
                    <a:pt x="3342" y="1746"/>
                  </a:lnTo>
                  <a:lnTo>
                    <a:pt x="3342" y="1740"/>
                  </a:lnTo>
                  <a:lnTo>
                    <a:pt x="3342" y="1734"/>
                  </a:lnTo>
                  <a:lnTo>
                    <a:pt x="3342" y="1722"/>
                  </a:lnTo>
                  <a:lnTo>
                    <a:pt x="3342" y="1716"/>
                  </a:lnTo>
                  <a:lnTo>
                    <a:pt x="3336" y="1716"/>
                  </a:lnTo>
                  <a:lnTo>
                    <a:pt x="3330" y="1710"/>
                  </a:lnTo>
                  <a:lnTo>
                    <a:pt x="3324" y="1704"/>
                  </a:lnTo>
                  <a:lnTo>
                    <a:pt x="3312" y="1698"/>
                  </a:lnTo>
                  <a:lnTo>
                    <a:pt x="3312" y="1686"/>
                  </a:lnTo>
                  <a:lnTo>
                    <a:pt x="3318" y="1680"/>
                  </a:lnTo>
                  <a:lnTo>
                    <a:pt x="3324" y="1680"/>
                  </a:lnTo>
                  <a:lnTo>
                    <a:pt x="3324" y="1668"/>
                  </a:lnTo>
                  <a:lnTo>
                    <a:pt x="3330" y="1668"/>
                  </a:lnTo>
                  <a:lnTo>
                    <a:pt x="3342" y="1668"/>
                  </a:lnTo>
                  <a:lnTo>
                    <a:pt x="3348" y="1668"/>
                  </a:lnTo>
                  <a:lnTo>
                    <a:pt x="3354" y="1668"/>
                  </a:lnTo>
                  <a:lnTo>
                    <a:pt x="3360" y="1662"/>
                  </a:lnTo>
                  <a:lnTo>
                    <a:pt x="3372" y="1668"/>
                  </a:lnTo>
                  <a:lnTo>
                    <a:pt x="3378" y="1662"/>
                  </a:lnTo>
                  <a:lnTo>
                    <a:pt x="3384" y="1656"/>
                  </a:lnTo>
                  <a:lnTo>
                    <a:pt x="3384" y="1650"/>
                  </a:lnTo>
                  <a:lnTo>
                    <a:pt x="3384" y="1644"/>
                  </a:lnTo>
                  <a:lnTo>
                    <a:pt x="3390" y="1632"/>
                  </a:lnTo>
                  <a:lnTo>
                    <a:pt x="3390" y="1620"/>
                  </a:lnTo>
                  <a:lnTo>
                    <a:pt x="3390" y="1614"/>
                  </a:lnTo>
                  <a:lnTo>
                    <a:pt x="3384" y="1608"/>
                  </a:lnTo>
                  <a:lnTo>
                    <a:pt x="3384" y="1602"/>
                  </a:lnTo>
                  <a:lnTo>
                    <a:pt x="3384" y="1590"/>
                  </a:lnTo>
                  <a:lnTo>
                    <a:pt x="3390" y="1578"/>
                  </a:lnTo>
                  <a:lnTo>
                    <a:pt x="3390" y="1572"/>
                  </a:lnTo>
                  <a:lnTo>
                    <a:pt x="3390" y="1566"/>
                  </a:lnTo>
                  <a:lnTo>
                    <a:pt x="3384" y="1560"/>
                  </a:lnTo>
                  <a:lnTo>
                    <a:pt x="3384" y="1554"/>
                  </a:lnTo>
                  <a:lnTo>
                    <a:pt x="3384" y="1548"/>
                  </a:lnTo>
                  <a:lnTo>
                    <a:pt x="3390" y="1542"/>
                  </a:lnTo>
                  <a:lnTo>
                    <a:pt x="3396" y="1542"/>
                  </a:lnTo>
                  <a:lnTo>
                    <a:pt x="3396" y="1536"/>
                  </a:lnTo>
                  <a:lnTo>
                    <a:pt x="3402" y="1530"/>
                  </a:lnTo>
                  <a:lnTo>
                    <a:pt x="3408" y="1530"/>
                  </a:lnTo>
                  <a:lnTo>
                    <a:pt x="3414" y="1524"/>
                  </a:lnTo>
                  <a:lnTo>
                    <a:pt x="3420" y="1524"/>
                  </a:lnTo>
                  <a:lnTo>
                    <a:pt x="3426" y="1524"/>
                  </a:lnTo>
                  <a:lnTo>
                    <a:pt x="3426" y="1530"/>
                  </a:lnTo>
                  <a:lnTo>
                    <a:pt x="3444" y="1530"/>
                  </a:lnTo>
                  <a:lnTo>
                    <a:pt x="3456" y="1524"/>
                  </a:lnTo>
                  <a:lnTo>
                    <a:pt x="3462" y="1518"/>
                  </a:lnTo>
                  <a:lnTo>
                    <a:pt x="3462" y="1512"/>
                  </a:lnTo>
                  <a:lnTo>
                    <a:pt x="3468" y="1506"/>
                  </a:lnTo>
                  <a:lnTo>
                    <a:pt x="3480" y="1512"/>
                  </a:lnTo>
                  <a:lnTo>
                    <a:pt x="3492" y="1512"/>
                  </a:lnTo>
                  <a:lnTo>
                    <a:pt x="3498" y="1512"/>
                  </a:lnTo>
                  <a:lnTo>
                    <a:pt x="3504" y="1512"/>
                  </a:lnTo>
                  <a:lnTo>
                    <a:pt x="3510" y="1506"/>
                  </a:lnTo>
                  <a:lnTo>
                    <a:pt x="3516" y="1506"/>
                  </a:lnTo>
                  <a:lnTo>
                    <a:pt x="3528" y="1494"/>
                  </a:lnTo>
                  <a:lnTo>
                    <a:pt x="3540" y="1494"/>
                  </a:lnTo>
                  <a:lnTo>
                    <a:pt x="3552" y="1488"/>
                  </a:lnTo>
                  <a:lnTo>
                    <a:pt x="3564" y="1494"/>
                  </a:lnTo>
                  <a:lnTo>
                    <a:pt x="3570" y="1494"/>
                  </a:lnTo>
                  <a:lnTo>
                    <a:pt x="3576" y="1494"/>
                  </a:lnTo>
                  <a:lnTo>
                    <a:pt x="3582" y="1494"/>
                  </a:lnTo>
                  <a:lnTo>
                    <a:pt x="3588" y="1500"/>
                  </a:lnTo>
                  <a:lnTo>
                    <a:pt x="3594" y="1500"/>
                  </a:lnTo>
                  <a:lnTo>
                    <a:pt x="3600" y="1494"/>
                  </a:lnTo>
                  <a:lnTo>
                    <a:pt x="3600" y="1488"/>
                  </a:lnTo>
                  <a:lnTo>
                    <a:pt x="3600" y="1482"/>
                  </a:lnTo>
                  <a:lnTo>
                    <a:pt x="3606" y="1476"/>
                  </a:lnTo>
                  <a:lnTo>
                    <a:pt x="3606" y="1470"/>
                  </a:lnTo>
                  <a:lnTo>
                    <a:pt x="3612" y="1470"/>
                  </a:lnTo>
                  <a:lnTo>
                    <a:pt x="3618" y="1464"/>
                  </a:lnTo>
                  <a:lnTo>
                    <a:pt x="3624" y="1458"/>
                  </a:lnTo>
                  <a:lnTo>
                    <a:pt x="3624" y="1452"/>
                  </a:lnTo>
                  <a:lnTo>
                    <a:pt x="3630" y="1446"/>
                  </a:lnTo>
                  <a:lnTo>
                    <a:pt x="3636" y="1452"/>
                  </a:lnTo>
                  <a:lnTo>
                    <a:pt x="3660" y="1464"/>
                  </a:lnTo>
                  <a:lnTo>
                    <a:pt x="3666" y="1470"/>
                  </a:lnTo>
                  <a:lnTo>
                    <a:pt x="3678" y="1470"/>
                  </a:lnTo>
                  <a:lnTo>
                    <a:pt x="3690" y="1476"/>
                  </a:lnTo>
                  <a:lnTo>
                    <a:pt x="3696" y="1470"/>
                  </a:lnTo>
                  <a:lnTo>
                    <a:pt x="3696" y="1458"/>
                  </a:lnTo>
                  <a:lnTo>
                    <a:pt x="3702" y="1458"/>
                  </a:lnTo>
                  <a:lnTo>
                    <a:pt x="3708" y="1452"/>
                  </a:lnTo>
                  <a:lnTo>
                    <a:pt x="3714" y="1446"/>
                  </a:lnTo>
                  <a:lnTo>
                    <a:pt x="3720" y="1446"/>
                  </a:lnTo>
                  <a:lnTo>
                    <a:pt x="3732" y="1446"/>
                  </a:lnTo>
                  <a:lnTo>
                    <a:pt x="3744" y="1452"/>
                  </a:lnTo>
                  <a:lnTo>
                    <a:pt x="3750" y="1452"/>
                  </a:lnTo>
                  <a:lnTo>
                    <a:pt x="3762" y="1446"/>
                  </a:lnTo>
                  <a:lnTo>
                    <a:pt x="3768" y="1446"/>
                  </a:lnTo>
                  <a:lnTo>
                    <a:pt x="3780" y="1434"/>
                  </a:lnTo>
                  <a:lnTo>
                    <a:pt x="3786" y="1434"/>
                  </a:lnTo>
                  <a:lnTo>
                    <a:pt x="3792" y="1428"/>
                  </a:lnTo>
                  <a:lnTo>
                    <a:pt x="3804" y="1434"/>
                  </a:lnTo>
                  <a:lnTo>
                    <a:pt x="3816" y="1440"/>
                  </a:lnTo>
                  <a:lnTo>
                    <a:pt x="3822" y="1446"/>
                  </a:lnTo>
                  <a:lnTo>
                    <a:pt x="3828" y="1446"/>
                  </a:lnTo>
                  <a:lnTo>
                    <a:pt x="3840" y="1446"/>
                  </a:lnTo>
                  <a:lnTo>
                    <a:pt x="3852" y="1446"/>
                  </a:lnTo>
                  <a:lnTo>
                    <a:pt x="3864" y="1446"/>
                  </a:lnTo>
                  <a:lnTo>
                    <a:pt x="3876" y="1440"/>
                  </a:lnTo>
                  <a:lnTo>
                    <a:pt x="3888" y="1440"/>
                  </a:lnTo>
                  <a:lnTo>
                    <a:pt x="3894" y="1440"/>
                  </a:lnTo>
                  <a:lnTo>
                    <a:pt x="3900" y="1440"/>
                  </a:lnTo>
                  <a:lnTo>
                    <a:pt x="3906" y="1446"/>
                  </a:lnTo>
                  <a:lnTo>
                    <a:pt x="3912" y="1446"/>
                  </a:lnTo>
                  <a:lnTo>
                    <a:pt x="3918" y="1452"/>
                  </a:lnTo>
                  <a:lnTo>
                    <a:pt x="3930" y="1452"/>
                  </a:lnTo>
                  <a:lnTo>
                    <a:pt x="3936" y="1446"/>
                  </a:lnTo>
                  <a:lnTo>
                    <a:pt x="3942" y="1428"/>
                  </a:lnTo>
                  <a:lnTo>
                    <a:pt x="3942" y="1422"/>
                  </a:lnTo>
                  <a:lnTo>
                    <a:pt x="3948" y="1416"/>
                  </a:lnTo>
                  <a:lnTo>
                    <a:pt x="3954" y="1410"/>
                  </a:lnTo>
                  <a:lnTo>
                    <a:pt x="3972" y="1410"/>
                  </a:lnTo>
                  <a:lnTo>
                    <a:pt x="3978" y="1404"/>
                  </a:lnTo>
                  <a:lnTo>
                    <a:pt x="3984" y="1392"/>
                  </a:lnTo>
                  <a:lnTo>
                    <a:pt x="3990" y="1380"/>
                  </a:lnTo>
                  <a:lnTo>
                    <a:pt x="4002" y="1374"/>
                  </a:lnTo>
                  <a:lnTo>
                    <a:pt x="4008" y="1374"/>
                  </a:lnTo>
                  <a:lnTo>
                    <a:pt x="4020" y="1374"/>
                  </a:lnTo>
                  <a:lnTo>
                    <a:pt x="4032" y="1368"/>
                  </a:lnTo>
                  <a:lnTo>
                    <a:pt x="4038" y="1368"/>
                  </a:lnTo>
                  <a:lnTo>
                    <a:pt x="4056" y="1368"/>
                  </a:lnTo>
                  <a:lnTo>
                    <a:pt x="4068" y="1362"/>
                  </a:lnTo>
                  <a:lnTo>
                    <a:pt x="4074" y="1362"/>
                  </a:lnTo>
                  <a:lnTo>
                    <a:pt x="4080" y="1362"/>
                  </a:lnTo>
                  <a:lnTo>
                    <a:pt x="4086" y="1362"/>
                  </a:lnTo>
                  <a:lnTo>
                    <a:pt x="4092" y="1362"/>
                  </a:lnTo>
                  <a:lnTo>
                    <a:pt x="4098" y="1362"/>
                  </a:lnTo>
                  <a:lnTo>
                    <a:pt x="4104" y="1356"/>
                  </a:lnTo>
                  <a:lnTo>
                    <a:pt x="4110" y="1350"/>
                  </a:lnTo>
                  <a:lnTo>
                    <a:pt x="4116" y="1356"/>
                  </a:lnTo>
                  <a:lnTo>
                    <a:pt x="4122" y="1362"/>
                  </a:lnTo>
                  <a:lnTo>
                    <a:pt x="4134" y="1362"/>
                  </a:lnTo>
                  <a:lnTo>
                    <a:pt x="4140" y="1356"/>
                  </a:lnTo>
                  <a:lnTo>
                    <a:pt x="4152" y="1350"/>
                  </a:lnTo>
                  <a:lnTo>
                    <a:pt x="4158" y="1350"/>
                  </a:lnTo>
                  <a:lnTo>
                    <a:pt x="4164" y="1350"/>
                  </a:lnTo>
                  <a:lnTo>
                    <a:pt x="4170" y="1344"/>
                  </a:lnTo>
                  <a:lnTo>
                    <a:pt x="4176" y="1338"/>
                  </a:lnTo>
                  <a:lnTo>
                    <a:pt x="4176" y="1332"/>
                  </a:lnTo>
                  <a:lnTo>
                    <a:pt x="4176" y="1326"/>
                  </a:lnTo>
                  <a:lnTo>
                    <a:pt x="4188" y="1326"/>
                  </a:lnTo>
                  <a:lnTo>
                    <a:pt x="4200" y="1326"/>
                  </a:lnTo>
                  <a:lnTo>
                    <a:pt x="4200" y="1332"/>
                  </a:lnTo>
                  <a:lnTo>
                    <a:pt x="4200" y="1338"/>
                  </a:lnTo>
                  <a:lnTo>
                    <a:pt x="4206" y="1344"/>
                  </a:lnTo>
                  <a:lnTo>
                    <a:pt x="4212" y="1350"/>
                  </a:lnTo>
                  <a:lnTo>
                    <a:pt x="4212" y="1356"/>
                  </a:lnTo>
                  <a:lnTo>
                    <a:pt x="4218" y="1356"/>
                  </a:lnTo>
                  <a:lnTo>
                    <a:pt x="4218" y="1350"/>
                  </a:lnTo>
                  <a:lnTo>
                    <a:pt x="4218" y="1338"/>
                  </a:lnTo>
                  <a:lnTo>
                    <a:pt x="4224" y="1332"/>
                  </a:lnTo>
                  <a:lnTo>
                    <a:pt x="4236" y="1326"/>
                  </a:lnTo>
                  <a:lnTo>
                    <a:pt x="4242" y="1320"/>
                  </a:lnTo>
                  <a:lnTo>
                    <a:pt x="4242" y="1314"/>
                  </a:lnTo>
                  <a:lnTo>
                    <a:pt x="4242" y="1308"/>
                  </a:lnTo>
                  <a:lnTo>
                    <a:pt x="4242" y="1302"/>
                  </a:lnTo>
                  <a:lnTo>
                    <a:pt x="4248" y="1302"/>
                  </a:lnTo>
                  <a:lnTo>
                    <a:pt x="4248" y="1296"/>
                  </a:lnTo>
                  <a:lnTo>
                    <a:pt x="4248" y="1290"/>
                  </a:lnTo>
                  <a:lnTo>
                    <a:pt x="4248" y="1284"/>
                  </a:lnTo>
                  <a:lnTo>
                    <a:pt x="4248" y="1266"/>
                  </a:lnTo>
                  <a:lnTo>
                    <a:pt x="4248" y="1248"/>
                  </a:lnTo>
                  <a:lnTo>
                    <a:pt x="4242" y="1236"/>
                  </a:lnTo>
                  <a:lnTo>
                    <a:pt x="4248" y="1230"/>
                  </a:lnTo>
                  <a:lnTo>
                    <a:pt x="4260" y="1224"/>
                  </a:lnTo>
                  <a:lnTo>
                    <a:pt x="4260" y="1218"/>
                  </a:lnTo>
                  <a:lnTo>
                    <a:pt x="4260" y="1206"/>
                  </a:lnTo>
                  <a:lnTo>
                    <a:pt x="4260" y="1200"/>
                  </a:lnTo>
                  <a:lnTo>
                    <a:pt x="4254" y="1188"/>
                  </a:lnTo>
                  <a:lnTo>
                    <a:pt x="4248" y="1170"/>
                  </a:lnTo>
                  <a:lnTo>
                    <a:pt x="4254" y="1164"/>
                  </a:lnTo>
                  <a:lnTo>
                    <a:pt x="4254" y="1152"/>
                  </a:lnTo>
                  <a:lnTo>
                    <a:pt x="4266" y="1146"/>
                  </a:lnTo>
                  <a:lnTo>
                    <a:pt x="4272" y="1134"/>
                  </a:lnTo>
                  <a:lnTo>
                    <a:pt x="4272" y="1128"/>
                  </a:lnTo>
                  <a:lnTo>
                    <a:pt x="4266" y="1122"/>
                  </a:lnTo>
                  <a:lnTo>
                    <a:pt x="4266" y="1116"/>
                  </a:lnTo>
                  <a:lnTo>
                    <a:pt x="4266" y="1110"/>
                  </a:lnTo>
                  <a:lnTo>
                    <a:pt x="4272" y="1104"/>
                  </a:lnTo>
                  <a:lnTo>
                    <a:pt x="4278" y="1098"/>
                  </a:lnTo>
                  <a:lnTo>
                    <a:pt x="4284" y="1092"/>
                  </a:lnTo>
                  <a:lnTo>
                    <a:pt x="4290" y="1098"/>
                  </a:lnTo>
                  <a:lnTo>
                    <a:pt x="4296" y="1098"/>
                  </a:lnTo>
                  <a:lnTo>
                    <a:pt x="4302" y="1092"/>
                  </a:lnTo>
                  <a:lnTo>
                    <a:pt x="4302" y="1086"/>
                  </a:lnTo>
                  <a:lnTo>
                    <a:pt x="4308" y="1086"/>
                  </a:lnTo>
                  <a:lnTo>
                    <a:pt x="4314" y="1086"/>
                  </a:lnTo>
                  <a:lnTo>
                    <a:pt x="4332" y="1080"/>
                  </a:lnTo>
                  <a:lnTo>
                    <a:pt x="4344" y="1068"/>
                  </a:lnTo>
                  <a:lnTo>
                    <a:pt x="4350" y="1044"/>
                  </a:lnTo>
                  <a:lnTo>
                    <a:pt x="4368" y="1032"/>
                  </a:lnTo>
                  <a:lnTo>
                    <a:pt x="4380" y="1020"/>
                  </a:lnTo>
                  <a:lnTo>
                    <a:pt x="4380" y="1014"/>
                  </a:lnTo>
                  <a:lnTo>
                    <a:pt x="4392" y="1008"/>
                  </a:lnTo>
                  <a:lnTo>
                    <a:pt x="4398" y="1002"/>
                  </a:lnTo>
                  <a:lnTo>
                    <a:pt x="4410" y="1008"/>
                  </a:lnTo>
                  <a:lnTo>
                    <a:pt x="4416" y="1020"/>
                  </a:lnTo>
                  <a:lnTo>
                    <a:pt x="4422" y="1020"/>
                  </a:lnTo>
                  <a:lnTo>
                    <a:pt x="4428" y="1014"/>
                  </a:lnTo>
                  <a:lnTo>
                    <a:pt x="4440" y="1014"/>
                  </a:lnTo>
                  <a:lnTo>
                    <a:pt x="4446" y="1020"/>
                  </a:lnTo>
                  <a:lnTo>
                    <a:pt x="4446" y="1026"/>
                  </a:lnTo>
                  <a:lnTo>
                    <a:pt x="4452" y="1026"/>
                  </a:lnTo>
                  <a:lnTo>
                    <a:pt x="4452" y="1032"/>
                  </a:lnTo>
                  <a:lnTo>
                    <a:pt x="4458" y="1044"/>
                  </a:lnTo>
                  <a:lnTo>
                    <a:pt x="4464" y="1056"/>
                  </a:lnTo>
                  <a:lnTo>
                    <a:pt x="4464" y="1062"/>
                  </a:lnTo>
                  <a:lnTo>
                    <a:pt x="4476" y="1074"/>
                  </a:lnTo>
                  <a:lnTo>
                    <a:pt x="4482" y="1074"/>
                  </a:lnTo>
                  <a:lnTo>
                    <a:pt x="4482" y="1080"/>
                  </a:lnTo>
                  <a:lnTo>
                    <a:pt x="4488" y="1074"/>
                  </a:lnTo>
                  <a:lnTo>
                    <a:pt x="4494" y="1074"/>
                  </a:lnTo>
                  <a:lnTo>
                    <a:pt x="4500" y="1080"/>
                  </a:lnTo>
                  <a:lnTo>
                    <a:pt x="4506" y="1080"/>
                  </a:lnTo>
                  <a:lnTo>
                    <a:pt x="4512" y="1080"/>
                  </a:lnTo>
                  <a:lnTo>
                    <a:pt x="4518" y="1074"/>
                  </a:lnTo>
                  <a:lnTo>
                    <a:pt x="4530" y="1068"/>
                  </a:lnTo>
                  <a:lnTo>
                    <a:pt x="4536" y="1056"/>
                  </a:lnTo>
                  <a:lnTo>
                    <a:pt x="4536" y="1050"/>
                  </a:lnTo>
                  <a:lnTo>
                    <a:pt x="4542" y="1050"/>
                  </a:lnTo>
                  <a:lnTo>
                    <a:pt x="4554" y="1044"/>
                  </a:lnTo>
                  <a:lnTo>
                    <a:pt x="4560" y="1050"/>
                  </a:lnTo>
                  <a:lnTo>
                    <a:pt x="4566" y="1050"/>
                  </a:lnTo>
                  <a:lnTo>
                    <a:pt x="4572" y="1050"/>
                  </a:lnTo>
                  <a:lnTo>
                    <a:pt x="4578" y="1056"/>
                  </a:lnTo>
                  <a:lnTo>
                    <a:pt x="4578" y="1062"/>
                  </a:lnTo>
                  <a:lnTo>
                    <a:pt x="4584" y="1062"/>
                  </a:lnTo>
                  <a:lnTo>
                    <a:pt x="4590" y="1068"/>
                  </a:lnTo>
                  <a:lnTo>
                    <a:pt x="4602" y="1068"/>
                  </a:lnTo>
                  <a:lnTo>
                    <a:pt x="4608" y="1074"/>
                  </a:lnTo>
                  <a:lnTo>
                    <a:pt x="4608" y="1080"/>
                  </a:lnTo>
                  <a:lnTo>
                    <a:pt x="4614" y="1086"/>
                  </a:lnTo>
                  <a:lnTo>
                    <a:pt x="4620" y="1080"/>
                  </a:lnTo>
                  <a:lnTo>
                    <a:pt x="4626" y="1080"/>
                  </a:lnTo>
                  <a:lnTo>
                    <a:pt x="4632" y="1086"/>
                  </a:lnTo>
                  <a:lnTo>
                    <a:pt x="4638" y="1098"/>
                  </a:lnTo>
                  <a:lnTo>
                    <a:pt x="4638" y="1104"/>
                  </a:lnTo>
                  <a:lnTo>
                    <a:pt x="4626" y="1116"/>
                  </a:lnTo>
                  <a:lnTo>
                    <a:pt x="4620" y="1122"/>
                  </a:lnTo>
                  <a:lnTo>
                    <a:pt x="4620" y="1128"/>
                  </a:lnTo>
                  <a:lnTo>
                    <a:pt x="4614" y="1134"/>
                  </a:lnTo>
                  <a:lnTo>
                    <a:pt x="4614" y="1140"/>
                  </a:lnTo>
                  <a:lnTo>
                    <a:pt x="4620" y="1152"/>
                  </a:lnTo>
                  <a:lnTo>
                    <a:pt x="4626" y="1152"/>
                  </a:lnTo>
                  <a:lnTo>
                    <a:pt x="4626" y="1158"/>
                  </a:lnTo>
                  <a:lnTo>
                    <a:pt x="4632" y="1158"/>
                  </a:lnTo>
                  <a:lnTo>
                    <a:pt x="4644" y="1152"/>
                  </a:lnTo>
                  <a:lnTo>
                    <a:pt x="4650" y="1152"/>
                  </a:lnTo>
                  <a:lnTo>
                    <a:pt x="4650" y="1140"/>
                  </a:lnTo>
                  <a:lnTo>
                    <a:pt x="4650" y="1134"/>
                  </a:lnTo>
                  <a:lnTo>
                    <a:pt x="4656" y="1128"/>
                  </a:lnTo>
                  <a:lnTo>
                    <a:pt x="4662" y="1122"/>
                  </a:lnTo>
                  <a:lnTo>
                    <a:pt x="4674" y="1128"/>
                  </a:lnTo>
                  <a:lnTo>
                    <a:pt x="4680" y="1134"/>
                  </a:lnTo>
                  <a:lnTo>
                    <a:pt x="4686" y="1134"/>
                  </a:lnTo>
                  <a:lnTo>
                    <a:pt x="4692" y="1134"/>
                  </a:lnTo>
                  <a:lnTo>
                    <a:pt x="4692" y="1128"/>
                  </a:lnTo>
                  <a:lnTo>
                    <a:pt x="4698" y="1116"/>
                  </a:lnTo>
                  <a:lnTo>
                    <a:pt x="4704" y="1110"/>
                  </a:lnTo>
                  <a:lnTo>
                    <a:pt x="4704" y="1104"/>
                  </a:lnTo>
                  <a:lnTo>
                    <a:pt x="4710" y="1098"/>
                  </a:lnTo>
                  <a:lnTo>
                    <a:pt x="4710" y="1104"/>
                  </a:lnTo>
                  <a:lnTo>
                    <a:pt x="4710" y="1116"/>
                  </a:lnTo>
                  <a:lnTo>
                    <a:pt x="4716" y="1116"/>
                  </a:lnTo>
                  <a:lnTo>
                    <a:pt x="4722" y="1116"/>
                  </a:lnTo>
                  <a:lnTo>
                    <a:pt x="4722" y="1110"/>
                  </a:lnTo>
                  <a:lnTo>
                    <a:pt x="4728" y="1110"/>
                  </a:lnTo>
                  <a:lnTo>
                    <a:pt x="4734" y="1110"/>
                  </a:lnTo>
                  <a:lnTo>
                    <a:pt x="4740" y="1110"/>
                  </a:lnTo>
                  <a:lnTo>
                    <a:pt x="4740" y="1116"/>
                  </a:lnTo>
                  <a:lnTo>
                    <a:pt x="4746" y="1122"/>
                  </a:lnTo>
                  <a:lnTo>
                    <a:pt x="4752" y="1122"/>
                  </a:lnTo>
                  <a:lnTo>
                    <a:pt x="4758" y="1116"/>
                  </a:lnTo>
                  <a:lnTo>
                    <a:pt x="4770" y="1122"/>
                  </a:lnTo>
                  <a:lnTo>
                    <a:pt x="4770" y="1128"/>
                  </a:lnTo>
                  <a:lnTo>
                    <a:pt x="4776" y="1140"/>
                  </a:lnTo>
                  <a:lnTo>
                    <a:pt x="4782" y="1146"/>
                  </a:lnTo>
                  <a:lnTo>
                    <a:pt x="4794" y="1152"/>
                  </a:lnTo>
                  <a:lnTo>
                    <a:pt x="4794" y="1158"/>
                  </a:lnTo>
                  <a:lnTo>
                    <a:pt x="4788" y="1164"/>
                  </a:lnTo>
                  <a:lnTo>
                    <a:pt x="4788" y="1170"/>
                  </a:lnTo>
                  <a:lnTo>
                    <a:pt x="4782" y="1176"/>
                  </a:lnTo>
                  <a:lnTo>
                    <a:pt x="4776" y="1182"/>
                  </a:lnTo>
                  <a:lnTo>
                    <a:pt x="4776" y="1188"/>
                  </a:lnTo>
                  <a:lnTo>
                    <a:pt x="4776" y="1194"/>
                  </a:lnTo>
                  <a:lnTo>
                    <a:pt x="4782" y="1194"/>
                  </a:lnTo>
                  <a:lnTo>
                    <a:pt x="4788" y="1188"/>
                  </a:lnTo>
                  <a:lnTo>
                    <a:pt x="4794" y="1188"/>
                  </a:lnTo>
                  <a:lnTo>
                    <a:pt x="4812" y="1182"/>
                  </a:lnTo>
                  <a:lnTo>
                    <a:pt x="4818" y="1176"/>
                  </a:lnTo>
                  <a:lnTo>
                    <a:pt x="4824" y="1170"/>
                  </a:lnTo>
                  <a:lnTo>
                    <a:pt x="4830" y="1170"/>
                  </a:lnTo>
                  <a:lnTo>
                    <a:pt x="4836" y="1158"/>
                  </a:lnTo>
                  <a:lnTo>
                    <a:pt x="4842" y="1152"/>
                  </a:lnTo>
                  <a:lnTo>
                    <a:pt x="4836" y="1134"/>
                  </a:lnTo>
                  <a:lnTo>
                    <a:pt x="4854" y="1134"/>
                  </a:lnTo>
                  <a:lnTo>
                    <a:pt x="4854" y="1128"/>
                  </a:lnTo>
                  <a:lnTo>
                    <a:pt x="4860" y="1116"/>
                  </a:lnTo>
                  <a:lnTo>
                    <a:pt x="4866" y="1104"/>
                  </a:lnTo>
                  <a:lnTo>
                    <a:pt x="4872" y="1104"/>
                  </a:lnTo>
                  <a:lnTo>
                    <a:pt x="4878" y="1110"/>
                  </a:lnTo>
                  <a:lnTo>
                    <a:pt x="4884" y="1104"/>
                  </a:lnTo>
                  <a:lnTo>
                    <a:pt x="4884" y="1098"/>
                  </a:lnTo>
                  <a:lnTo>
                    <a:pt x="4890" y="1092"/>
                  </a:lnTo>
                  <a:lnTo>
                    <a:pt x="4896" y="1092"/>
                  </a:lnTo>
                  <a:lnTo>
                    <a:pt x="4896" y="1086"/>
                  </a:lnTo>
                  <a:lnTo>
                    <a:pt x="4902" y="1092"/>
                  </a:lnTo>
                  <a:lnTo>
                    <a:pt x="4908" y="1092"/>
                  </a:lnTo>
                  <a:lnTo>
                    <a:pt x="4908" y="1086"/>
                  </a:lnTo>
                  <a:lnTo>
                    <a:pt x="4920" y="1086"/>
                  </a:lnTo>
                  <a:lnTo>
                    <a:pt x="4920" y="1074"/>
                  </a:lnTo>
                  <a:lnTo>
                    <a:pt x="4932" y="1074"/>
                  </a:lnTo>
                  <a:lnTo>
                    <a:pt x="4944" y="1080"/>
                  </a:lnTo>
                  <a:lnTo>
                    <a:pt x="4950" y="1086"/>
                  </a:lnTo>
                  <a:lnTo>
                    <a:pt x="4956" y="1092"/>
                  </a:lnTo>
                  <a:lnTo>
                    <a:pt x="4956" y="1086"/>
                  </a:lnTo>
                  <a:lnTo>
                    <a:pt x="4962" y="1086"/>
                  </a:lnTo>
                  <a:lnTo>
                    <a:pt x="4962" y="1080"/>
                  </a:lnTo>
                  <a:lnTo>
                    <a:pt x="4968" y="1074"/>
                  </a:lnTo>
                  <a:lnTo>
                    <a:pt x="4974" y="1068"/>
                  </a:lnTo>
                  <a:lnTo>
                    <a:pt x="4980" y="1062"/>
                  </a:lnTo>
                  <a:lnTo>
                    <a:pt x="4992" y="1056"/>
                  </a:lnTo>
                  <a:lnTo>
                    <a:pt x="4992" y="1050"/>
                  </a:lnTo>
                  <a:lnTo>
                    <a:pt x="4986" y="1050"/>
                  </a:lnTo>
                  <a:lnTo>
                    <a:pt x="4986" y="1044"/>
                  </a:lnTo>
                  <a:lnTo>
                    <a:pt x="4980" y="1044"/>
                  </a:lnTo>
                  <a:lnTo>
                    <a:pt x="4974" y="1044"/>
                  </a:lnTo>
                  <a:lnTo>
                    <a:pt x="4980" y="1038"/>
                  </a:lnTo>
                  <a:lnTo>
                    <a:pt x="4980" y="1032"/>
                  </a:lnTo>
                  <a:lnTo>
                    <a:pt x="4992" y="1026"/>
                  </a:lnTo>
                  <a:lnTo>
                    <a:pt x="4998" y="1026"/>
                  </a:lnTo>
                  <a:lnTo>
                    <a:pt x="5004" y="1020"/>
                  </a:lnTo>
                  <a:lnTo>
                    <a:pt x="5010" y="1008"/>
                  </a:lnTo>
                  <a:lnTo>
                    <a:pt x="5016" y="1008"/>
                  </a:lnTo>
                  <a:lnTo>
                    <a:pt x="5016" y="996"/>
                  </a:lnTo>
                  <a:lnTo>
                    <a:pt x="5028" y="984"/>
                  </a:lnTo>
                  <a:lnTo>
                    <a:pt x="5034" y="972"/>
                  </a:lnTo>
                  <a:lnTo>
                    <a:pt x="5046" y="966"/>
                  </a:lnTo>
                  <a:lnTo>
                    <a:pt x="5052" y="960"/>
                  </a:lnTo>
                  <a:lnTo>
                    <a:pt x="5052" y="948"/>
                  </a:lnTo>
                  <a:lnTo>
                    <a:pt x="5052" y="936"/>
                  </a:lnTo>
                  <a:lnTo>
                    <a:pt x="5058" y="930"/>
                  </a:lnTo>
                  <a:lnTo>
                    <a:pt x="5046" y="912"/>
                  </a:lnTo>
                  <a:lnTo>
                    <a:pt x="5046" y="906"/>
                  </a:lnTo>
                  <a:lnTo>
                    <a:pt x="5046" y="900"/>
                  </a:lnTo>
                  <a:lnTo>
                    <a:pt x="5058" y="900"/>
                  </a:lnTo>
                  <a:lnTo>
                    <a:pt x="5064" y="900"/>
                  </a:lnTo>
                  <a:lnTo>
                    <a:pt x="5076" y="900"/>
                  </a:lnTo>
                  <a:lnTo>
                    <a:pt x="5082" y="906"/>
                  </a:lnTo>
                  <a:lnTo>
                    <a:pt x="5088" y="900"/>
                  </a:lnTo>
                  <a:lnTo>
                    <a:pt x="5094" y="900"/>
                  </a:lnTo>
                  <a:lnTo>
                    <a:pt x="5100" y="906"/>
                  </a:lnTo>
                  <a:lnTo>
                    <a:pt x="5118" y="900"/>
                  </a:lnTo>
                  <a:lnTo>
                    <a:pt x="5124" y="900"/>
                  </a:lnTo>
                  <a:lnTo>
                    <a:pt x="5130" y="900"/>
                  </a:lnTo>
                  <a:lnTo>
                    <a:pt x="5136" y="894"/>
                  </a:lnTo>
                  <a:lnTo>
                    <a:pt x="5142" y="888"/>
                  </a:lnTo>
                  <a:lnTo>
                    <a:pt x="5136" y="882"/>
                  </a:lnTo>
                  <a:lnTo>
                    <a:pt x="5136" y="876"/>
                  </a:lnTo>
                  <a:lnTo>
                    <a:pt x="5148" y="876"/>
                  </a:lnTo>
                  <a:lnTo>
                    <a:pt x="5154" y="870"/>
                  </a:lnTo>
                  <a:lnTo>
                    <a:pt x="5160" y="864"/>
                  </a:lnTo>
                  <a:lnTo>
                    <a:pt x="5166" y="864"/>
                  </a:lnTo>
                  <a:lnTo>
                    <a:pt x="5172" y="846"/>
                  </a:lnTo>
                  <a:lnTo>
                    <a:pt x="5160" y="840"/>
                  </a:lnTo>
                  <a:lnTo>
                    <a:pt x="5166" y="834"/>
                  </a:lnTo>
                  <a:lnTo>
                    <a:pt x="5172" y="828"/>
                  </a:lnTo>
                  <a:lnTo>
                    <a:pt x="5178" y="828"/>
                  </a:lnTo>
                  <a:lnTo>
                    <a:pt x="5184" y="828"/>
                  </a:lnTo>
                  <a:lnTo>
                    <a:pt x="5190" y="828"/>
                  </a:lnTo>
                  <a:lnTo>
                    <a:pt x="5196" y="828"/>
                  </a:lnTo>
                  <a:lnTo>
                    <a:pt x="5196" y="834"/>
                  </a:lnTo>
                  <a:lnTo>
                    <a:pt x="5202" y="834"/>
                  </a:lnTo>
                  <a:lnTo>
                    <a:pt x="5214" y="840"/>
                  </a:lnTo>
                  <a:lnTo>
                    <a:pt x="5220" y="846"/>
                  </a:lnTo>
                  <a:lnTo>
                    <a:pt x="5232" y="852"/>
                  </a:lnTo>
                  <a:lnTo>
                    <a:pt x="5238" y="858"/>
                  </a:lnTo>
                  <a:lnTo>
                    <a:pt x="5244" y="858"/>
                  </a:lnTo>
                  <a:lnTo>
                    <a:pt x="5250" y="852"/>
                  </a:lnTo>
                  <a:lnTo>
                    <a:pt x="5256" y="852"/>
                  </a:lnTo>
                  <a:lnTo>
                    <a:pt x="5262" y="852"/>
                  </a:lnTo>
                  <a:lnTo>
                    <a:pt x="5274" y="846"/>
                  </a:lnTo>
                  <a:lnTo>
                    <a:pt x="5274" y="840"/>
                  </a:lnTo>
                  <a:lnTo>
                    <a:pt x="5268" y="840"/>
                  </a:lnTo>
                  <a:lnTo>
                    <a:pt x="5268" y="834"/>
                  </a:lnTo>
                  <a:lnTo>
                    <a:pt x="5274" y="828"/>
                  </a:lnTo>
                  <a:lnTo>
                    <a:pt x="5280" y="828"/>
                  </a:lnTo>
                  <a:lnTo>
                    <a:pt x="5292" y="828"/>
                  </a:lnTo>
                  <a:lnTo>
                    <a:pt x="5292" y="822"/>
                  </a:lnTo>
                  <a:lnTo>
                    <a:pt x="5286" y="804"/>
                  </a:lnTo>
                  <a:lnTo>
                    <a:pt x="5292" y="798"/>
                  </a:lnTo>
                  <a:lnTo>
                    <a:pt x="5298" y="792"/>
                  </a:lnTo>
                  <a:lnTo>
                    <a:pt x="5292" y="786"/>
                  </a:lnTo>
                  <a:lnTo>
                    <a:pt x="5298" y="780"/>
                  </a:lnTo>
                  <a:lnTo>
                    <a:pt x="5298" y="774"/>
                  </a:lnTo>
                  <a:lnTo>
                    <a:pt x="5298" y="768"/>
                  </a:lnTo>
                  <a:lnTo>
                    <a:pt x="5304" y="762"/>
                  </a:lnTo>
                  <a:lnTo>
                    <a:pt x="5316" y="756"/>
                  </a:lnTo>
                  <a:lnTo>
                    <a:pt x="5334" y="726"/>
                  </a:lnTo>
                  <a:lnTo>
                    <a:pt x="5334" y="720"/>
                  </a:lnTo>
                  <a:lnTo>
                    <a:pt x="5340" y="714"/>
                  </a:lnTo>
                  <a:lnTo>
                    <a:pt x="5328" y="702"/>
                  </a:lnTo>
                  <a:lnTo>
                    <a:pt x="5346" y="684"/>
                  </a:lnTo>
                  <a:lnTo>
                    <a:pt x="5352" y="672"/>
                  </a:lnTo>
                  <a:lnTo>
                    <a:pt x="5352" y="660"/>
                  </a:lnTo>
                  <a:lnTo>
                    <a:pt x="5364" y="648"/>
                  </a:lnTo>
                  <a:lnTo>
                    <a:pt x="5376" y="630"/>
                  </a:lnTo>
                  <a:lnTo>
                    <a:pt x="5376" y="624"/>
                  </a:lnTo>
                  <a:lnTo>
                    <a:pt x="5370" y="618"/>
                  </a:lnTo>
                  <a:lnTo>
                    <a:pt x="5364" y="606"/>
                  </a:lnTo>
                  <a:lnTo>
                    <a:pt x="5358" y="600"/>
                  </a:lnTo>
                  <a:lnTo>
                    <a:pt x="5370" y="594"/>
                  </a:lnTo>
                  <a:lnTo>
                    <a:pt x="5376" y="582"/>
                  </a:lnTo>
                  <a:lnTo>
                    <a:pt x="5376" y="570"/>
                  </a:lnTo>
                  <a:lnTo>
                    <a:pt x="5376" y="564"/>
                  </a:lnTo>
                  <a:lnTo>
                    <a:pt x="5376" y="552"/>
                  </a:lnTo>
                  <a:lnTo>
                    <a:pt x="5370" y="546"/>
                  </a:lnTo>
                  <a:lnTo>
                    <a:pt x="5370" y="540"/>
                  </a:lnTo>
                  <a:lnTo>
                    <a:pt x="5370" y="528"/>
                  </a:lnTo>
                  <a:lnTo>
                    <a:pt x="5370" y="522"/>
                  </a:lnTo>
                  <a:lnTo>
                    <a:pt x="5376" y="516"/>
                  </a:lnTo>
                  <a:lnTo>
                    <a:pt x="5394" y="498"/>
                  </a:lnTo>
                  <a:lnTo>
                    <a:pt x="5400" y="486"/>
                  </a:lnTo>
                  <a:lnTo>
                    <a:pt x="5406" y="474"/>
                  </a:lnTo>
                  <a:lnTo>
                    <a:pt x="5418" y="462"/>
                  </a:lnTo>
                  <a:lnTo>
                    <a:pt x="5430" y="450"/>
                  </a:lnTo>
                  <a:lnTo>
                    <a:pt x="5436" y="444"/>
                  </a:lnTo>
                  <a:lnTo>
                    <a:pt x="5442" y="432"/>
                  </a:lnTo>
                  <a:lnTo>
                    <a:pt x="5430" y="426"/>
                  </a:lnTo>
                  <a:lnTo>
                    <a:pt x="5424" y="426"/>
                  </a:lnTo>
                  <a:lnTo>
                    <a:pt x="5430" y="426"/>
                  </a:lnTo>
                  <a:lnTo>
                    <a:pt x="5436" y="420"/>
                  </a:lnTo>
                  <a:lnTo>
                    <a:pt x="5448" y="402"/>
                  </a:lnTo>
                  <a:lnTo>
                    <a:pt x="5448" y="396"/>
                  </a:lnTo>
                  <a:lnTo>
                    <a:pt x="5448" y="390"/>
                  </a:lnTo>
                  <a:lnTo>
                    <a:pt x="5448" y="378"/>
                  </a:lnTo>
                  <a:lnTo>
                    <a:pt x="5454" y="378"/>
                  </a:lnTo>
                  <a:lnTo>
                    <a:pt x="5466" y="372"/>
                  </a:lnTo>
                  <a:lnTo>
                    <a:pt x="5466" y="366"/>
                  </a:lnTo>
                  <a:lnTo>
                    <a:pt x="5460" y="354"/>
                  </a:lnTo>
                  <a:lnTo>
                    <a:pt x="5460" y="336"/>
                  </a:lnTo>
                  <a:lnTo>
                    <a:pt x="5460" y="324"/>
                  </a:lnTo>
                  <a:lnTo>
                    <a:pt x="5454" y="318"/>
                  </a:lnTo>
                  <a:lnTo>
                    <a:pt x="5454" y="312"/>
                  </a:lnTo>
                  <a:lnTo>
                    <a:pt x="5448" y="300"/>
                  </a:lnTo>
                  <a:lnTo>
                    <a:pt x="5448" y="294"/>
                  </a:lnTo>
                  <a:lnTo>
                    <a:pt x="5454" y="288"/>
                  </a:lnTo>
                  <a:lnTo>
                    <a:pt x="5460" y="282"/>
                  </a:lnTo>
                  <a:lnTo>
                    <a:pt x="5472" y="276"/>
                  </a:lnTo>
                  <a:lnTo>
                    <a:pt x="5484" y="276"/>
                  </a:lnTo>
                  <a:lnTo>
                    <a:pt x="5484" y="282"/>
                  </a:lnTo>
                  <a:lnTo>
                    <a:pt x="5496" y="282"/>
                  </a:lnTo>
                  <a:lnTo>
                    <a:pt x="5502" y="270"/>
                  </a:lnTo>
                  <a:lnTo>
                    <a:pt x="5502" y="258"/>
                  </a:lnTo>
                  <a:lnTo>
                    <a:pt x="5508" y="258"/>
                  </a:lnTo>
                  <a:lnTo>
                    <a:pt x="5514" y="258"/>
                  </a:lnTo>
                  <a:lnTo>
                    <a:pt x="5526" y="252"/>
                  </a:lnTo>
                  <a:lnTo>
                    <a:pt x="5532" y="258"/>
                  </a:lnTo>
                  <a:lnTo>
                    <a:pt x="5538" y="258"/>
                  </a:lnTo>
                  <a:lnTo>
                    <a:pt x="5550" y="258"/>
                  </a:lnTo>
                  <a:lnTo>
                    <a:pt x="5562" y="258"/>
                  </a:lnTo>
                  <a:lnTo>
                    <a:pt x="5568" y="252"/>
                  </a:lnTo>
                  <a:lnTo>
                    <a:pt x="5574" y="246"/>
                  </a:lnTo>
                  <a:lnTo>
                    <a:pt x="5592" y="240"/>
                  </a:lnTo>
                  <a:lnTo>
                    <a:pt x="5604" y="234"/>
                  </a:lnTo>
                  <a:lnTo>
                    <a:pt x="5604" y="228"/>
                  </a:lnTo>
                  <a:lnTo>
                    <a:pt x="5610" y="228"/>
                  </a:lnTo>
                  <a:lnTo>
                    <a:pt x="5616" y="222"/>
                  </a:lnTo>
                  <a:lnTo>
                    <a:pt x="5628" y="216"/>
                  </a:lnTo>
                  <a:lnTo>
                    <a:pt x="5628" y="210"/>
                  </a:lnTo>
                  <a:lnTo>
                    <a:pt x="5634" y="210"/>
                  </a:lnTo>
                  <a:lnTo>
                    <a:pt x="5640" y="204"/>
                  </a:lnTo>
                  <a:lnTo>
                    <a:pt x="5652" y="204"/>
                  </a:lnTo>
                  <a:lnTo>
                    <a:pt x="5658" y="198"/>
                  </a:lnTo>
                  <a:lnTo>
                    <a:pt x="5670" y="198"/>
                  </a:lnTo>
                  <a:lnTo>
                    <a:pt x="5682" y="192"/>
                  </a:lnTo>
                  <a:lnTo>
                    <a:pt x="5688" y="186"/>
                  </a:lnTo>
                  <a:lnTo>
                    <a:pt x="5706" y="174"/>
                  </a:lnTo>
                  <a:lnTo>
                    <a:pt x="5712" y="174"/>
                  </a:lnTo>
                  <a:lnTo>
                    <a:pt x="5724" y="168"/>
                  </a:lnTo>
                  <a:lnTo>
                    <a:pt x="5730" y="174"/>
                  </a:lnTo>
                  <a:lnTo>
                    <a:pt x="5736" y="174"/>
                  </a:lnTo>
                  <a:lnTo>
                    <a:pt x="5742" y="174"/>
                  </a:lnTo>
                  <a:lnTo>
                    <a:pt x="5742" y="168"/>
                  </a:lnTo>
                  <a:lnTo>
                    <a:pt x="5754" y="162"/>
                  </a:lnTo>
                  <a:lnTo>
                    <a:pt x="5760" y="162"/>
                  </a:lnTo>
                  <a:lnTo>
                    <a:pt x="5778" y="162"/>
                  </a:lnTo>
                  <a:lnTo>
                    <a:pt x="5790" y="156"/>
                  </a:lnTo>
                  <a:lnTo>
                    <a:pt x="5802" y="150"/>
                  </a:lnTo>
                  <a:lnTo>
                    <a:pt x="5814" y="144"/>
                  </a:lnTo>
                  <a:lnTo>
                    <a:pt x="5826" y="144"/>
                  </a:lnTo>
                  <a:lnTo>
                    <a:pt x="5832" y="138"/>
                  </a:lnTo>
                  <a:lnTo>
                    <a:pt x="5844" y="132"/>
                  </a:lnTo>
                  <a:lnTo>
                    <a:pt x="5850" y="132"/>
                  </a:lnTo>
                  <a:lnTo>
                    <a:pt x="5856" y="132"/>
                  </a:lnTo>
                  <a:lnTo>
                    <a:pt x="5856" y="126"/>
                  </a:lnTo>
                  <a:lnTo>
                    <a:pt x="5862" y="120"/>
                  </a:lnTo>
                  <a:lnTo>
                    <a:pt x="5874" y="120"/>
                  </a:lnTo>
                  <a:lnTo>
                    <a:pt x="5874" y="126"/>
                  </a:lnTo>
                  <a:lnTo>
                    <a:pt x="5868" y="132"/>
                  </a:lnTo>
                  <a:lnTo>
                    <a:pt x="5874" y="132"/>
                  </a:lnTo>
                  <a:lnTo>
                    <a:pt x="5880" y="126"/>
                  </a:lnTo>
                  <a:lnTo>
                    <a:pt x="5886" y="126"/>
                  </a:lnTo>
                  <a:lnTo>
                    <a:pt x="5886" y="132"/>
                  </a:lnTo>
                  <a:lnTo>
                    <a:pt x="5886" y="138"/>
                  </a:lnTo>
                  <a:lnTo>
                    <a:pt x="5886" y="150"/>
                  </a:lnTo>
                  <a:lnTo>
                    <a:pt x="5892" y="150"/>
                  </a:lnTo>
                  <a:lnTo>
                    <a:pt x="5904" y="150"/>
                  </a:lnTo>
                  <a:lnTo>
                    <a:pt x="5904" y="156"/>
                  </a:lnTo>
                  <a:lnTo>
                    <a:pt x="5910" y="156"/>
                  </a:lnTo>
                  <a:lnTo>
                    <a:pt x="5910" y="162"/>
                  </a:lnTo>
                  <a:lnTo>
                    <a:pt x="5922" y="174"/>
                  </a:lnTo>
                  <a:lnTo>
                    <a:pt x="5928" y="168"/>
                  </a:lnTo>
                  <a:lnTo>
                    <a:pt x="5934" y="174"/>
                  </a:lnTo>
                  <a:lnTo>
                    <a:pt x="5940" y="168"/>
                  </a:lnTo>
                  <a:lnTo>
                    <a:pt x="5952" y="162"/>
                  </a:lnTo>
                  <a:lnTo>
                    <a:pt x="5958" y="162"/>
                  </a:lnTo>
                  <a:lnTo>
                    <a:pt x="5970" y="156"/>
                  </a:lnTo>
                  <a:lnTo>
                    <a:pt x="5976" y="150"/>
                  </a:lnTo>
                  <a:lnTo>
                    <a:pt x="5982" y="150"/>
                  </a:lnTo>
                  <a:lnTo>
                    <a:pt x="5994" y="156"/>
                  </a:lnTo>
                  <a:lnTo>
                    <a:pt x="6000" y="156"/>
                  </a:lnTo>
                  <a:lnTo>
                    <a:pt x="6006" y="168"/>
                  </a:lnTo>
                  <a:lnTo>
                    <a:pt x="6012" y="180"/>
                  </a:lnTo>
                  <a:lnTo>
                    <a:pt x="6012" y="186"/>
                  </a:lnTo>
                  <a:lnTo>
                    <a:pt x="6018" y="180"/>
                  </a:lnTo>
                  <a:lnTo>
                    <a:pt x="6018" y="192"/>
                  </a:lnTo>
                  <a:lnTo>
                    <a:pt x="6018" y="198"/>
                  </a:lnTo>
                  <a:lnTo>
                    <a:pt x="6024" y="192"/>
                  </a:lnTo>
                  <a:lnTo>
                    <a:pt x="6030" y="186"/>
                  </a:lnTo>
                  <a:lnTo>
                    <a:pt x="6036" y="192"/>
                  </a:lnTo>
                  <a:lnTo>
                    <a:pt x="6042" y="192"/>
                  </a:lnTo>
                  <a:lnTo>
                    <a:pt x="6042" y="198"/>
                  </a:lnTo>
                  <a:lnTo>
                    <a:pt x="6048" y="216"/>
                  </a:lnTo>
                  <a:lnTo>
                    <a:pt x="6054" y="216"/>
                  </a:lnTo>
                  <a:lnTo>
                    <a:pt x="6060" y="216"/>
                  </a:lnTo>
                  <a:lnTo>
                    <a:pt x="6066" y="210"/>
                  </a:lnTo>
                  <a:lnTo>
                    <a:pt x="6078" y="216"/>
                  </a:lnTo>
                  <a:lnTo>
                    <a:pt x="6084" y="210"/>
                  </a:lnTo>
                  <a:lnTo>
                    <a:pt x="6084" y="204"/>
                  </a:lnTo>
                  <a:lnTo>
                    <a:pt x="6096" y="198"/>
                  </a:lnTo>
                  <a:lnTo>
                    <a:pt x="6102" y="198"/>
                  </a:lnTo>
                  <a:lnTo>
                    <a:pt x="6108" y="192"/>
                  </a:lnTo>
                  <a:lnTo>
                    <a:pt x="6114" y="186"/>
                  </a:lnTo>
                  <a:lnTo>
                    <a:pt x="6126" y="186"/>
                  </a:lnTo>
                  <a:lnTo>
                    <a:pt x="6138" y="186"/>
                  </a:lnTo>
                  <a:lnTo>
                    <a:pt x="6138" y="192"/>
                  </a:lnTo>
                  <a:lnTo>
                    <a:pt x="6150" y="192"/>
                  </a:lnTo>
                  <a:lnTo>
                    <a:pt x="6162" y="192"/>
                  </a:lnTo>
                  <a:lnTo>
                    <a:pt x="6168" y="192"/>
                  </a:lnTo>
                  <a:lnTo>
                    <a:pt x="6174" y="192"/>
                  </a:lnTo>
                  <a:lnTo>
                    <a:pt x="6180" y="186"/>
                  </a:lnTo>
                  <a:lnTo>
                    <a:pt x="6192" y="192"/>
                  </a:lnTo>
                  <a:lnTo>
                    <a:pt x="6210" y="192"/>
                  </a:lnTo>
                  <a:lnTo>
                    <a:pt x="6222" y="198"/>
                  </a:lnTo>
                  <a:lnTo>
                    <a:pt x="6228" y="204"/>
                  </a:lnTo>
                  <a:lnTo>
                    <a:pt x="6234" y="204"/>
                  </a:lnTo>
                  <a:lnTo>
                    <a:pt x="6234" y="216"/>
                  </a:lnTo>
                  <a:lnTo>
                    <a:pt x="6234" y="234"/>
                  </a:lnTo>
                  <a:lnTo>
                    <a:pt x="6246" y="240"/>
                  </a:lnTo>
                  <a:lnTo>
                    <a:pt x="6252" y="240"/>
                  </a:lnTo>
                  <a:lnTo>
                    <a:pt x="6258" y="240"/>
                  </a:lnTo>
                  <a:lnTo>
                    <a:pt x="6264" y="240"/>
                  </a:lnTo>
                  <a:lnTo>
                    <a:pt x="6276" y="240"/>
                  </a:lnTo>
                  <a:lnTo>
                    <a:pt x="6276" y="234"/>
                  </a:lnTo>
                  <a:lnTo>
                    <a:pt x="6282" y="234"/>
                  </a:lnTo>
                  <a:lnTo>
                    <a:pt x="6288" y="228"/>
                  </a:lnTo>
                  <a:lnTo>
                    <a:pt x="6288" y="216"/>
                  </a:lnTo>
                  <a:lnTo>
                    <a:pt x="6288" y="210"/>
                  </a:lnTo>
                  <a:lnTo>
                    <a:pt x="6288" y="204"/>
                  </a:lnTo>
                  <a:lnTo>
                    <a:pt x="6294" y="198"/>
                  </a:lnTo>
                  <a:lnTo>
                    <a:pt x="6300" y="186"/>
                  </a:lnTo>
                  <a:lnTo>
                    <a:pt x="6306" y="186"/>
                  </a:lnTo>
                  <a:lnTo>
                    <a:pt x="6306" y="180"/>
                  </a:lnTo>
                  <a:lnTo>
                    <a:pt x="6312" y="174"/>
                  </a:lnTo>
                  <a:lnTo>
                    <a:pt x="6318" y="174"/>
                  </a:lnTo>
                  <a:lnTo>
                    <a:pt x="6324" y="174"/>
                  </a:lnTo>
                  <a:lnTo>
                    <a:pt x="6330" y="174"/>
                  </a:lnTo>
                  <a:lnTo>
                    <a:pt x="6336" y="174"/>
                  </a:lnTo>
                  <a:lnTo>
                    <a:pt x="6342" y="168"/>
                  </a:lnTo>
                  <a:lnTo>
                    <a:pt x="6348" y="162"/>
                  </a:lnTo>
                  <a:lnTo>
                    <a:pt x="6354" y="162"/>
                  </a:lnTo>
                  <a:lnTo>
                    <a:pt x="6360" y="156"/>
                  </a:lnTo>
                  <a:lnTo>
                    <a:pt x="6366" y="156"/>
                  </a:lnTo>
                  <a:lnTo>
                    <a:pt x="6372" y="150"/>
                  </a:lnTo>
                  <a:lnTo>
                    <a:pt x="6384" y="144"/>
                  </a:lnTo>
                  <a:lnTo>
                    <a:pt x="6390" y="138"/>
                  </a:lnTo>
                  <a:lnTo>
                    <a:pt x="6396" y="138"/>
                  </a:lnTo>
                  <a:lnTo>
                    <a:pt x="6402" y="138"/>
                  </a:lnTo>
                  <a:lnTo>
                    <a:pt x="6402" y="126"/>
                  </a:lnTo>
                  <a:lnTo>
                    <a:pt x="6408" y="126"/>
                  </a:lnTo>
                  <a:lnTo>
                    <a:pt x="6420" y="132"/>
                  </a:lnTo>
                  <a:lnTo>
                    <a:pt x="6420" y="138"/>
                  </a:lnTo>
                  <a:lnTo>
                    <a:pt x="6426" y="138"/>
                  </a:lnTo>
                  <a:lnTo>
                    <a:pt x="6432" y="138"/>
                  </a:lnTo>
                  <a:lnTo>
                    <a:pt x="6438" y="144"/>
                  </a:lnTo>
                  <a:lnTo>
                    <a:pt x="6444" y="144"/>
                  </a:lnTo>
                  <a:lnTo>
                    <a:pt x="6450" y="144"/>
                  </a:lnTo>
                  <a:lnTo>
                    <a:pt x="6468" y="144"/>
                  </a:lnTo>
                  <a:lnTo>
                    <a:pt x="6474" y="144"/>
                  </a:lnTo>
                  <a:lnTo>
                    <a:pt x="6492" y="144"/>
                  </a:lnTo>
                  <a:lnTo>
                    <a:pt x="6492" y="138"/>
                  </a:lnTo>
                  <a:lnTo>
                    <a:pt x="6498" y="132"/>
                  </a:lnTo>
                  <a:lnTo>
                    <a:pt x="6504" y="126"/>
                  </a:lnTo>
                  <a:lnTo>
                    <a:pt x="6504" y="120"/>
                  </a:lnTo>
                  <a:lnTo>
                    <a:pt x="6498" y="114"/>
                  </a:lnTo>
                  <a:lnTo>
                    <a:pt x="6504" y="108"/>
                  </a:lnTo>
                  <a:lnTo>
                    <a:pt x="6504" y="102"/>
                  </a:lnTo>
                  <a:lnTo>
                    <a:pt x="6504" y="96"/>
                  </a:lnTo>
                  <a:lnTo>
                    <a:pt x="6498" y="90"/>
                  </a:lnTo>
                  <a:lnTo>
                    <a:pt x="6498" y="84"/>
                  </a:lnTo>
                  <a:lnTo>
                    <a:pt x="6510" y="84"/>
                  </a:lnTo>
                  <a:lnTo>
                    <a:pt x="6510" y="78"/>
                  </a:lnTo>
                  <a:lnTo>
                    <a:pt x="6504" y="78"/>
                  </a:lnTo>
                  <a:lnTo>
                    <a:pt x="6498" y="78"/>
                  </a:lnTo>
                  <a:lnTo>
                    <a:pt x="6498" y="72"/>
                  </a:lnTo>
                  <a:lnTo>
                    <a:pt x="6504" y="66"/>
                  </a:lnTo>
                  <a:lnTo>
                    <a:pt x="6504" y="60"/>
                  </a:lnTo>
                  <a:lnTo>
                    <a:pt x="6510" y="66"/>
                  </a:lnTo>
                  <a:lnTo>
                    <a:pt x="6528" y="66"/>
                  </a:lnTo>
                  <a:lnTo>
                    <a:pt x="6534" y="66"/>
                  </a:lnTo>
                  <a:lnTo>
                    <a:pt x="6552" y="60"/>
                  </a:lnTo>
                  <a:lnTo>
                    <a:pt x="6558" y="60"/>
                  </a:lnTo>
                  <a:lnTo>
                    <a:pt x="6564" y="60"/>
                  </a:lnTo>
                  <a:lnTo>
                    <a:pt x="6570" y="60"/>
                  </a:lnTo>
                  <a:lnTo>
                    <a:pt x="6582" y="60"/>
                  </a:lnTo>
                  <a:lnTo>
                    <a:pt x="6588" y="60"/>
                  </a:lnTo>
                  <a:lnTo>
                    <a:pt x="6594" y="54"/>
                  </a:lnTo>
                  <a:lnTo>
                    <a:pt x="6606" y="42"/>
                  </a:lnTo>
                  <a:lnTo>
                    <a:pt x="6612" y="48"/>
                  </a:lnTo>
                  <a:lnTo>
                    <a:pt x="6618" y="48"/>
                  </a:lnTo>
                  <a:lnTo>
                    <a:pt x="6624" y="48"/>
                  </a:lnTo>
                  <a:lnTo>
                    <a:pt x="6630" y="48"/>
                  </a:lnTo>
                  <a:lnTo>
                    <a:pt x="6636" y="42"/>
                  </a:lnTo>
                  <a:lnTo>
                    <a:pt x="6636" y="36"/>
                  </a:lnTo>
                  <a:lnTo>
                    <a:pt x="6630" y="18"/>
                  </a:lnTo>
                  <a:lnTo>
                    <a:pt x="6636" y="12"/>
                  </a:lnTo>
                  <a:lnTo>
                    <a:pt x="6636" y="6"/>
                  </a:lnTo>
                  <a:lnTo>
                    <a:pt x="6642" y="6"/>
                  </a:lnTo>
                  <a:lnTo>
                    <a:pt x="6648" y="0"/>
                  </a:lnTo>
                  <a:lnTo>
                    <a:pt x="6660" y="0"/>
                  </a:lnTo>
                  <a:lnTo>
                    <a:pt x="6666" y="6"/>
                  </a:lnTo>
                  <a:lnTo>
                    <a:pt x="6672" y="12"/>
                  </a:lnTo>
                  <a:lnTo>
                    <a:pt x="6678" y="6"/>
                  </a:lnTo>
                  <a:lnTo>
                    <a:pt x="6684" y="12"/>
                  </a:lnTo>
                  <a:lnTo>
                    <a:pt x="6690" y="12"/>
                  </a:lnTo>
                  <a:lnTo>
                    <a:pt x="6690" y="18"/>
                  </a:lnTo>
                  <a:lnTo>
                    <a:pt x="6702" y="30"/>
                  </a:lnTo>
                  <a:lnTo>
                    <a:pt x="6708" y="30"/>
                  </a:lnTo>
                  <a:lnTo>
                    <a:pt x="6714" y="30"/>
                  </a:lnTo>
                  <a:lnTo>
                    <a:pt x="6720" y="36"/>
                  </a:lnTo>
                  <a:lnTo>
                    <a:pt x="6726" y="36"/>
                  </a:lnTo>
                  <a:lnTo>
                    <a:pt x="6732" y="36"/>
                  </a:lnTo>
                  <a:lnTo>
                    <a:pt x="6738" y="36"/>
                  </a:lnTo>
                  <a:lnTo>
                    <a:pt x="6744" y="42"/>
                  </a:lnTo>
                  <a:lnTo>
                    <a:pt x="6750" y="42"/>
                  </a:lnTo>
                  <a:lnTo>
                    <a:pt x="6750" y="48"/>
                  </a:lnTo>
                  <a:lnTo>
                    <a:pt x="6762" y="48"/>
                  </a:lnTo>
                  <a:lnTo>
                    <a:pt x="6768" y="54"/>
                  </a:lnTo>
                  <a:lnTo>
                    <a:pt x="6768" y="60"/>
                  </a:lnTo>
                  <a:lnTo>
                    <a:pt x="6774" y="72"/>
                  </a:lnTo>
                  <a:lnTo>
                    <a:pt x="6774" y="78"/>
                  </a:lnTo>
                  <a:lnTo>
                    <a:pt x="6780" y="90"/>
                  </a:lnTo>
                  <a:lnTo>
                    <a:pt x="6780" y="96"/>
                  </a:lnTo>
                  <a:lnTo>
                    <a:pt x="6786" y="102"/>
                  </a:lnTo>
                  <a:lnTo>
                    <a:pt x="6798" y="114"/>
                  </a:lnTo>
                  <a:lnTo>
                    <a:pt x="6804" y="120"/>
                  </a:lnTo>
                  <a:lnTo>
                    <a:pt x="6810" y="120"/>
                  </a:lnTo>
                  <a:lnTo>
                    <a:pt x="6816" y="120"/>
                  </a:lnTo>
                  <a:lnTo>
                    <a:pt x="6828" y="120"/>
                  </a:lnTo>
                  <a:lnTo>
                    <a:pt x="6846" y="120"/>
                  </a:lnTo>
                  <a:lnTo>
                    <a:pt x="6852" y="126"/>
                  </a:lnTo>
                  <a:lnTo>
                    <a:pt x="6864" y="120"/>
                  </a:lnTo>
                  <a:lnTo>
                    <a:pt x="6864" y="114"/>
                  </a:lnTo>
                  <a:lnTo>
                    <a:pt x="6870" y="108"/>
                  </a:lnTo>
                  <a:lnTo>
                    <a:pt x="6876" y="108"/>
                  </a:lnTo>
                  <a:lnTo>
                    <a:pt x="6888" y="108"/>
                  </a:lnTo>
                  <a:lnTo>
                    <a:pt x="6900" y="114"/>
                  </a:lnTo>
                  <a:lnTo>
                    <a:pt x="6906" y="120"/>
                  </a:lnTo>
                  <a:lnTo>
                    <a:pt x="6912" y="132"/>
                  </a:lnTo>
                  <a:lnTo>
                    <a:pt x="6918" y="150"/>
                  </a:lnTo>
                  <a:lnTo>
                    <a:pt x="6918" y="168"/>
                  </a:lnTo>
                  <a:lnTo>
                    <a:pt x="6924" y="180"/>
                  </a:lnTo>
                  <a:lnTo>
                    <a:pt x="6924" y="186"/>
                  </a:lnTo>
                  <a:lnTo>
                    <a:pt x="6930" y="192"/>
                  </a:lnTo>
                  <a:lnTo>
                    <a:pt x="6930" y="198"/>
                  </a:lnTo>
                  <a:lnTo>
                    <a:pt x="6936" y="204"/>
                  </a:lnTo>
                  <a:lnTo>
                    <a:pt x="6942" y="216"/>
                  </a:lnTo>
                  <a:lnTo>
                    <a:pt x="6954" y="228"/>
                  </a:lnTo>
                  <a:lnTo>
                    <a:pt x="6966" y="228"/>
                  </a:lnTo>
                  <a:lnTo>
                    <a:pt x="6972" y="234"/>
                  </a:lnTo>
                  <a:lnTo>
                    <a:pt x="6972" y="246"/>
                  </a:lnTo>
                  <a:lnTo>
                    <a:pt x="6972" y="252"/>
                  </a:lnTo>
                  <a:lnTo>
                    <a:pt x="6972" y="258"/>
                  </a:lnTo>
                  <a:lnTo>
                    <a:pt x="6984" y="264"/>
                  </a:lnTo>
                  <a:lnTo>
                    <a:pt x="6990" y="276"/>
                  </a:lnTo>
                  <a:lnTo>
                    <a:pt x="6996" y="282"/>
                  </a:lnTo>
                  <a:lnTo>
                    <a:pt x="7002" y="294"/>
                  </a:lnTo>
                  <a:lnTo>
                    <a:pt x="7002" y="312"/>
                  </a:lnTo>
                  <a:lnTo>
                    <a:pt x="7002" y="318"/>
                  </a:lnTo>
                  <a:lnTo>
                    <a:pt x="7014" y="324"/>
                  </a:lnTo>
                  <a:lnTo>
                    <a:pt x="7020" y="324"/>
                  </a:lnTo>
                  <a:lnTo>
                    <a:pt x="7026" y="324"/>
                  </a:lnTo>
                  <a:lnTo>
                    <a:pt x="7032" y="324"/>
                  </a:lnTo>
                  <a:lnTo>
                    <a:pt x="7038" y="336"/>
                  </a:lnTo>
                  <a:lnTo>
                    <a:pt x="7050" y="336"/>
                  </a:lnTo>
                  <a:lnTo>
                    <a:pt x="7056" y="342"/>
                  </a:lnTo>
                  <a:lnTo>
                    <a:pt x="7062" y="354"/>
                  </a:lnTo>
                  <a:lnTo>
                    <a:pt x="7062" y="360"/>
                  </a:lnTo>
                  <a:lnTo>
                    <a:pt x="7068" y="366"/>
                  </a:lnTo>
                  <a:lnTo>
                    <a:pt x="7074" y="366"/>
                  </a:lnTo>
                  <a:lnTo>
                    <a:pt x="7080" y="372"/>
                  </a:lnTo>
                  <a:lnTo>
                    <a:pt x="7074" y="384"/>
                  </a:lnTo>
                  <a:lnTo>
                    <a:pt x="7086" y="390"/>
                  </a:lnTo>
                  <a:lnTo>
                    <a:pt x="7092" y="396"/>
                  </a:lnTo>
                  <a:lnTo>
                    <a:pt x="7104" y="396"/>
                  </a:lnTo>
                  <a:lnTo>
                    <a:pt x="7116" y="390"/>
                  </a:lnTo>
                  <a:lnTo>
                    <a:pt x="7122" y="396"/>
                  </a:lnTo>
                  <a:lnTo>
                    <a:pt x="7134" y="396"/>
                  </a:lnTo>
                  <a:lnTo>
                    <a:pt x="7146" y="402"/>
                  </a:lnTo>
                  <a:lnTo>
                    <a:pt x="7152" y="402"/>
                  </a:lnTo>
                  <a:lnTo>
                    <a:pt x="7158" y="408"/>
                  </a:lnTo>
                  <a:lnTo>
                    <a:pt x="7164" y="402"/>
                  </a:lnTo>
                  <a:lnTo>
                    <a:pt x="7170" y="402"/>
                  </a:lnTo>
                  <a:lnTo>
                    <a:pt x="7176" y="402"/>
                  </a:lnTo>
                  <a:lnTo>
                    <a:pt x="7182" y="402"/>
                  </a:lnTo>
                  <a:lnTo>
                    <a:pt x="7188" y="396"/>
                  </a:lnTo>
                  <a:lnTo>
                    <a:pt x="7200" y="396"/>
                  </a:lnTo>
                  <a:lnTo>
                    <a:pt x="7206" y="402"/>
                  </a:lnTo>
                  <a:lnTo>
                    <a:pt x="7212" y="396"/>
                  </a:lnTo>
                  <a:lnTo>
                    <a:pt x="7218" y="402"/>
                  </a:lnTo>
                  <a:lnTo>
                    <a:pt x="7224" y="402"/>
                  </a:lnTo>
                  <a:lnTo>
                    <a:pt x="7224" y="408"/>
                  </a:lnTo>
                  <a:lnTo>
                    <a:pt x="7230" y="408"/>
                  </a:lnTo>
                  <a:lnTo>
                    <a:pt x="7242" y="402"/>
                  </a:lnTo>
                  <a:lnTo>
                    <a:pt x="7242" y="396"/>
                  </a:lnTo>
                  <a:lnTo>
                    <a:pt x="7242" y="390"/>
                  </a:lnTo>
                  <a:lnTo>
                    <a:pt x="7242" y="384"/>
                  </a:lnTo>
                  <a:lnTo>
                    <a:pt x="7242" y="372"/>
                  </a:lnTo>
                  <a:lnTo>
                    <a:pt x="7242" y="366"/>
                  </a:lnTo>
                  <a:lnTo>
                    <a:pt x="7236" y="354"/>
                  </a:lnTo>
                  <a:lnTo>
                    <a:pt x="7236" y="348"/>
                  </a:lnTo>
                  <a:lnTo>
                    <a:pt x="7254" y="336"/>
                  </a:lnTo>
                  <a:lnTo>
                    <a:pt x="7260" y="336"/>
                  </a:lnTo>
                  <a:lnTo>
                    <a:pt x="7266" y="336"/>
                  </a:lnTo>
                  <a:lnTo>
                    <a:pt x="7266" y="342"/>
                  </a:lnTo>
                  <a:lnTo>
                    <a:pt x="7266" y="354"/>
                  </a:lnTo>
                  <a:lnTo>
                    <a:pt x="7272" y="354"/>
                  </a:lnTo>
                  <a:lnTo>
                    <a:pt x="7272" y="348"/>
                  </a:lnTo>
                  <a:lnTo>
                    <a:pt x="7278" y="348"/>
                  </a:lnTo>
                  <a:lnTo>
                    <a:pt x="7284" y="354"/>
                  </a:lnTo>
                  <a:lnTo>
                    <a:pt x="7290" y="354"/>
                  </a:lnTo>
                  <a:lnTo>
                    <a:pt x="7290" y="342"/>
                  </a:lnTo>
                  <a:lnTo>
                    <a:pt x="7296" y="342"/>
                  </a:lnTo>
                  <a:lnTo>
                    <a:pt x="7302" y="348"/>
                  </a:lnTo>
                  <a:lnTo>
                    <a:pt x="7308" y="342"/>
                  </a:lnTo>
                  <a:lnTo>
                    <a:pt x="7302" y="336"/>
                  </a:lnTo>
                  <a:lnTo>
                    <a:pt x="7302" y="330"/>
                  </a:lnTo>
                  <a:lnTo>
                    <a:pt x="7302" y="324"/>
                  </a:lnTo>
                  <a:lnTo>
                    <a:pt x="7308" y="318"/>
                  </a:lnTo>
                  <a:lnTo>
                    <a:pt x="7308" y="324"/>
                  </a:lnTo>
                  <a:lnTo>
                    <a:pt x="7308" y="330"/>
                  </a:lnTo>
                  <a:lnTo>
                    <a:pt x="7308" y="336"/>
                  </a:lnTo>
                  <a:lnTo>
                    <a:pt x="7314" y="336"/>
                  </a:lnTo>
                  <a:lnTo>
                    <a:pt x="7320" y="330"/>
                  </a:lnTo>
                  <a:lnTo>
                    <a:pt x="7314" y="324"/>
                  </a:lnTo>
                  <a:lnTo>
                    <a:pt x="7314" y="318"/>
                  </a:lnTo>
                  <a:lnTo>
                    <a:pt x="7320" y="318"/>
                  </a:lnTo>
                  <a:lnTo>
                    <a:pt x="7326" y="318"/>
                  </a:lnTo>
                  <a:lnTo>
                    <a:pt x="7320" y="324"/>
                  </a:lnTo>
                  <a:lnTo>
                    <a:pt x="7320" y="330"/>
                  </a:lnTo>
                  <a:lnTo>
                    <a:pt x="7332" y="324"/>
                  </a:lnTo>
                  <a:lnTo>
                    <a:pt x="7338" y="318"/>
                  </a:lnTo>
                  <a:lnTo>
                    <a:pt x="7338" y="324"/>
                  </a:lnTo>
                  <a:lnTo>
                    <a:pt x="7344" y="324"/>
                  </a:lnTo>
                  <a:lnTo>
                    <a:pt x="7350" y="324"/>
                  </a:lnTo>
                  <a:lnTo>
                    <a:pt x="7356" y="324"/>
                  </a:lnTo>
                  <a:lnTo>
                    <a:pt x="7362" y="324"/>
                  </a:lnTo>
                  <a:lnTo>
                    <a:pt x="7362" y="318"/>
                  </a:lnTo>
                  <a:lnTo>
                    <a:pt x="7356" y="318"/>
                  </a:lnTo>
                  <a:lnTo>
                    <a:pt x="7350" y="312"/>
                  </a:lnTo>
                  <a:lnTo>
                    <a:pt x="7362" y="306"/>
                  </a:lnTo>
                  <a:lnTo>
                    <a:pt x="7368" y="306"/>
                  </a:lnTo>
                  <a:lnTo>
                    <a:pt x="7374" y="300"/>
                  </a:lnTo>
                  <a:lnTo>
                    <a:pt x="7380" y="300"/>
                  </a:lnTo>
                  <a:lnTo>
                    <a:pt x="7380" y="294"/>
                  </a:lnTo>
                  <a:lnTo>
                    <a:pt x="7386" y="288"/>
                  </a:lnTo>
                  <a:lnTo>
                    <a:pt x="7392" y="288"/>
                  </a:lnTo>
                  <a:lnTo>
                    <a:pt x="7398" y="282"/>
                  </a:lnTo>
                  <a:lnTo>
                    <a:pt x="7404" y="282"/>
                  </a:lnTo>
                  <a:lnTo>
                    <a:pt x="7410" y="282"/>
                  </a:lnTo>
                  <a:lnTo>
                    <a:pt x="7416" y="282"/>
                  </a:lnTo>
                  <a:lnTo>
                    <a:pt x="7422" y="282"/>
                  </a:lnTo>
                  <a:lnTo>
                    <a:pt x="7428" y="288"/>
                  </a:lnTo>
                  <a:lnTo>
                    <a:pt x="7434" y="282"/>
                  </a:lnTo>
                  <a:lnTo>
                    <a:pt x="7440" y="282"/>
                  </a:lnTo>
                  <a:lnTo>
                    <a:pt x="7440" y="276"/>
                  </a:lnTo>
                  <a:lnTo>
                    <a:pt x="7446" y="276"/>
                  </a:lnTo>
                  <a:lnTo>
                    <a:pt x="7458" y="264"/>
                  </a:lnTo>
                  <a:lnTo>
                    <a:pt x="7470" y="258"/>
                  </a:lnTo>
                  <a:lnTo>
                    <a:pt x="7470" y="252"/>
                  </a:lnTo>
                  <a:lnTo>
                    <a:pt x="7476" y="252"/>
                  </a:lnTo>
                  <a:lnTo>
                    <a:pt x="7482" y="252"/>
                  </a:lnTo>
                  <a:lnTo>
                    <a:pt x="7488" y="258"/>
                  </a:lnTo>
                  <a:lnTo>
                    <a:pt x="7494" y="258"/>
                  </a:lnTo>
                  <a:lnTo>
                    <a:pt x="7500" y="264"/>
                  </a:lnTo>
                  <a:lnTo>
                    <a:pt x="7512" y="270"/>
                  </a:lnTo>
                  <a:lnTo>
                    <a:pt x="7518" y="270"/>
                  </a:lnTo>
                  <a:lnTo>
                    <a:pt x="7518" y="264"/>
                  </a:lnTo>
                  <a:lnTo>
                    <a:pt x="7524" y="264"/>
                  </a:lnTo>
                  <a:lnTo>
                    <a:pt x="7524" y="258"/>
                  </a:lnTo>
                  <a:lnTo>
                    <a:pt x="7536" y="258"/>
                  </a:lnTo>
                  <a:lnTo>
                    <a:pt x="7536" y="252"/>
                  </a:lnTo>
                  <a:lnTo>
                    <a:pt x="7542" y="246"/>
                  </a:lnTo>
                  <a:lnTo>
                    <a:pt x="7548" y="252"/>
                  </a:lnTo>
                  <a:lnTo>
                    <a:pt x="7554" y="258"/>
                  </a:lnTo>
                  <a:lnTo>
                    <a:pt x="7560" y="270"/>
                  </a:lnTo>
                  <a:lnTo>
                    <a:pt x="7566" y="270"/>
                  </a:lnTo>
                  <a:lnTo>
                    <a:pt x="7566" y="264"/>
                  </a:lnTo>
                  <a:lnTo>
                    <a:pt x="7572" y="258"/>
                  </a:lnTo>
                  <a:lnTo>
                    <a:pt x="7578" y="258"/>
                  </a:lnTo>
                  <a:lnTo>
                    <a:pt x="7590" y="252"/>
                  </a:lnTo>
                  <a:lnTo>
                    <a:pt x="7596" y="252"/>
                  </a:lnTo>
                  <a:lnTo>
                    <a:pt x="7602" y="252"/>
                  </a:lnTo>
                  <a:lnTo>
                    <a:pt x="7608" y="252"/>
                  </a:lnTo>
                  <a:lnTo>
                    <a:pt x="7608" y="246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8F60E2A-E1C9-49A0-92B3-DCE2F544722D}"/>
              </a:ext>
            </a:extLst>
          </p:cNvPr>
          <p:cNvGrpSpPr/>
          <p:nvPr/>
        </p:nvGrpSpPr>
        <p:grpSpPr>
          <a:xfrm>
            <a:off x="3697550" y="2358710"/>
            <a:ext cx="2318207" cy="2318207"/>
            <a:chOff x="5704569" y="1518595"/>
            <a:chExt cx="2272649" cy="2272649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BB0D7A8-58D9-4167-83C8-4D86CD773050}"/>
                </a:ext>
              </a:extLst>
            </p:cNvPr>
            <p:cNvSpPr/>
            <p:nvPr/>
          </p:nvSpPr>
          <p:spPr>
            <a:xfrm>
              <a:off x="5704569" y="1518595"/>
              <a:ext cx="2272649" cy="2272649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 defTabSz="932682">
                <a:buClr>
                  <a:srgbClr val="FFFFFF"/>
                </a:buClr>
                <a:defRPr/>
              </a:pPr>
              <a:endParaRPr lang="hu-HU" sz="1632" b="1">
                <a:solidFill>
                  <a:srgbClr val="000000"/>
                </a:solidFill>
                <a:latin typeface="Open Sans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2644D3F-FA59-4BE0-BC59-3E2C17C6EC81}"/>
                </a:ext>
              </a:extLst>
            </p:cNvPr>
            <p:cNvGrpSpPr/>
            <p:nvPr/>
          </p:nvGrpSpPr>
          <p:grpSpPr>
            <a:xfrm>
              <a:off x="5729053" y="1543947"/>
              <a:ext cx="2226334" cy="2221085"/>
              <a:chOff x="5729053" y="1543947"/>
              <a:chExt cx="2226334" cy="2221085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15BC73F8-7D56-45EE-B3F2-9AD467DC052A}"/>
                  </a:ext>
                </a:extLst>
              </p:cNvPr>
              <p:cNvGrpSpPr/>
              <p:nvPr/>
            </p:nvGrpSpPr>
            <p:grpSpPr>
              <a:xfrm rot="8383800">
                <a:off x="5729053" y="1543947"/>
                <a:ext cx="2226334" cy="2221085"/>
                <a:chOff x="-2155023" y="2236206"/>
                <a:chExt cx="1189876" cy="1205136"/>
              </a:xfrm>
            </p:grpSpPr>
            <p:sp>
              <p:nvSpPr>
                <p:cNvPr id="42" name="Block Arc 41">
                  <a:extLst>
                    <a:ext uri="{FF2B5EF4-FFF2-40B4-BE49-F238E27FC236}">
                      <a16:creationId xmlns:a16="http://schemas.microsoft.com/office/drawing/2014/main" id="{2655F93B-4371-46BC-8E64-DDC0F54F9CC1}"/>
                    </a:ext>
                  </a:extLst>
                </p:cNvPr>
                <p:cNvSpPr/>
                <p:nvPr/>
              </p:nvSpPr>
              <p:spPr>
                <a:xfrm>
                  <a:off x="-2154725" y="2236206"/>
                  <a:ext cx="1186004" cy="1188720"/>
                </a:xfrm>
                <a:prstGeom prst="blockArc">
                  <a:avLst>
                    <a:gd name="adj1" fmla="val 9168931"/>
                    <a:gd name="adj2" fmla="val 21526234"/>
                    <a:gd name="adj3" fmla="val 20805"/>
                  </a:avLst>
                </a:prstGeom>
                <a:solidFill>
                  <a:schemeClr val="accent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682">
                    <a:defRPr/>
                  </a:pPr>
                  <a:endParaRPr lang="hu-HU" sz="1632">
                    <a:solidFill>
                      <a:srgbClr val="000000"/>
                    </a:solidFill>
                    <a:latin typeface="Open Sans"/>
                  </a:endParaRPr>
                </a:p>
              </p:txBody>
            </p:sp>
            <p:sp>
              <p:nvSpPr>
                <p:cNvPr id="43" name="Block Arc 42">
                  <a:extLst>
                    <a:ext uri="{FF2B5EF4-FFF2-40B4-BE49-F238E27FC236}">
                      <a16:creationId xmlns:a16="http://schemas.microsoft.com/office/drawing/2014/main" id="{C0DFCA05-8092-447C-A176-885BE1CF7E80}"/>
                    </a:ext>
                  </a:extLst>
                </p:cNvPr>
                <p:cNvSpPr/>
                <p:nvPr/>
              </p:nvSpPr>
              <p:spPr>
                <a:xfrm rot="10800000">
                  <a:off x="-2155023" y="2249555"/>
                  <a:ext cx="1183158" cy="1188720"/>
                </a:xfrm>
                <a:prstGeom prst="blockArc">
                  <a:avLst>
                    <a:gd name="adj1" fmla="val 10718930"/>
                    <a:gd name="adj2" fmla="val 17688646"/>
                    <a:gd name="adj3" fmla="val 21167"/>
                  </a:avLst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682">
                    <a:defRPr/>
                  </a:pPr>
                  <a:endParaRPr lang="hu-HU" sz="1632">
                    <a:solidFill>
                      <a:srgbClr val="000000"/>
                    </a:solidFill>
                    <a:latin typeface="Open Sans"/>
                  </a:endParaRPr>
                </a:p>
              </p:txBody>
            </p:sp>
            <p:sp>
              <p:nvSpPr>
                <p:cNvPr id="44" name="Block Arc 43">
                  <a:extLst>
                    <a:ext uri="{FF2B5EF4-FFF2-40B4-BE49-F238E27FC236}">
                      <a16:creationId xmlns:a16="http://schemas.microsoft.com/office/drawing/2014/main" id="{770F53DA-885E-446D-8000-ADE9056E3F9B}"/>
                    </a:ext>
                  </a:extLst>
                </p:cNvPr>
                <p:cNvSpPr/>
                <p:nvPr/>
              </p:nvSpPr>
              <p:spPr>
                <a:xfrm rot="10800000">
                  <a:off x="-2148305" y="2252622"/>
                  <a:ext cx="1183158" cy="1188720"/>
                </a:xfrm>
                <a:prstGeom prst="blockArc">
                  <a:avLst>
                    <a:gd name="adj1" fmla="val 17804171"/>
                    <a:gd name="adj2" fmla="val 20000787"/>
                    <a:gd name="adj3" fmla="val 21095"/>
                  </a:avLst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682">
                    <a:defRPr/>
                  </a:pPr>
                  <a:endParaRPr lang="hu-HU" sz="1632">
                    <a:solidFill>
                      <a:srgbClr val="000000"/>
                    </a:solidFill>
                    <a:latin typeface="Open Sans"/>
                  </a:endParaRPr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2A2BE6AB-FDC1-41C7-A082-DE73391884EB}"/>
                  </a:ext>
                </a:extLst>
              </p:cNvPr>
              <p:cNvSpPr txBox="1"/>
              <p:nvPr/>
            </p:nvSpPr>
            <p:spPr>
              <a:xfrm>
                <a:off x="5782542" y="2406166"/>
                <a:ext cx="403771" cy="24615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77533" eaLnBrk="1" latinLnBrk="0" hangingPunct="1">
                  <a:buClr>
                    <a:schemeClr val="tx2"/>
                  </a:buClr>
                  <a:buSzPct val="100000"/>
                  <a:defRPr lang="en-US" sz="1568" baseline="0" dirty="0">
                    <a:latin typeface="+mn-lt"/>
                  </a:defRPr>
                </a:lvl1pPr>
                <a:lvl2pPr marL="190531" lvl="1" indent="-187003" defTabSz="877533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sz="1568" baseline="0" dirty="0">
                    <a:latin typeface="+mn-lt"/>
                  </a:defRPr>
                </a:lvl2pPr>
                <a:lvl3pPr marL="437517" lvl="2" indent="-243457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sz="1568" baseline="0" dirty="0">
                    <a:latin typeface="+mn-lt"/>
                  </a:defRPr>
                </a:lvl3pPr>
                <a:lvl4pPr marL="603350" lvl="3" indent="-151719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sz="1568" baseline="0" dirty="0">
                    <a:latin typeface="+mn-lt"/>
                  </a:defRPr>
                </a:lvl4pPr>
                <a:lvl5pPr marL="733899" lvl="4" indent="-127021" defTabSz="877533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sz="1568" baseline="0" dirty="0">
                    <a:latin typeface="+mn-lt"/>
                  </a:defRPr>
                </a:lvl5pPr>
                <a:lvl6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6pPr>
                <a:lvl7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7pPr>
                <a:lvl8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8pPr>
                <a:lvl9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9pPr>
              </a:lstStyle>
              <a:p>
                <a:pPr defTabSz="895078">
                  <a:buClr>
                    <a:srgbClr val="143A83"/>
                  </a:buClr>
                  <a:defRPr/>
                </a:pPr>
                <a:r>
                  <a:rPr lang="hu-HU" sz="1632">
                    <a:solidFill>
                      <a:srgbClr val="FFFFFF"/>
                    </a:solidFill>
                    <a:latin typeface="Open Sans"/>
                  </a:rPr>
                  <a:t>30%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13F9452-800C-48E1-86A8-133020BC5E2C}"/>
                  </a:ext>
                </a:extLst>
              </p:cNvPr>
              <p:cNvSpPr txBox="1"/>
              <p:nvPr/>
            </p:nvSpPr>
            <p:spPr>
              <a:xfrm>
                <a:off x="6795338" y="1628019"/>
                <a:ext cx="285939" cy="24615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77533" eaLnBrk="1" latinLnBrk="0" hangingPunct="1">
                  <a:buClr>
                    <a:schemeClr val="tx2"/>
                  </a:buClr>
                  <a:buSzPct val="100000"/>
                  <a:defRPr lang="en-US" sz="1568" baseline="0" dirty="0">
                    <a:latin typeface="+mn-lt"/>
                  </a:defRPr>
                </a:lvl1pPr>
                <a:lvl2pPr marL="190531" lvl="1" indent="-187003" defTabSz="877533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sz="1568" baseline="0" dirty="0">
                    <a:latin typeface="+mn-lt"/>
                  </a:defRPr>
                </a:lvl2pPr>
                <a:lvl3pPr marL="437517" lvl="2" indent="-243457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sz="1568" baseline="0" dirty="0">
                    <a:latin typeface="+mn-lt"/>
                  </a:defRPr>
                </a:lvl3pPr>
                <a:lvl4pPr marL="603350" lvl="3" indent="-151719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sz="1568" baseline="0" dirty="0">
                    <a:latin typeface="+mn-lt"/>
                  </a:defRPr>
                </a:lvl4pPr>
                <a:lvl5pPr marL="733899" lvl="4" indent="-127021" defTabSz="877533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sz="1568" baseline="0" dirty="0">
                    <a:latin typeface="+mn-lt"/>
                  </a:defRPr>
                </a:lvl5pPr>
                <a:lvl6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6pPr>
                <a:lvl7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7pPr>
                <a:lvl8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8pPr>
                <a:lvl9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9pPr>
              </a:lstStyle>
              <a:p>
                <a:pPr defTabSz="895078">
                  <a:buClr>
                    <a:srgbClr val="143A83"/>
                  </a:buClr>
                  <a:defRPr/>
                </a:pPr>
                <a:r>
                  <a:rPr lang="hu-HU" sz="1632">
                    <a:solidFill>
                      <a:srgbClr val="FFFFFF"/>
                    </a:solidFill>
                    <a:latin typeface="Open Sans"/>
                  </a:rPr>
                  <a:t>7%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0275315B-7B23-4FEC-8699-D48EA5B98ED9}"/>
                  </a:ext>
                </a:extLst>
              </p:cNvPr>
              <p:cNvSpPr txBox="1"/>
              <p:nvPr/>
            </p:nvSpPr>
            <p:spPr>
              <a:xfrm>
                <a:off x="7327036" y="3107619"/>
                <a:ext cx="403771" cy="24615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77533" eaLnBrk="1" latinLnBrk="0" hangingPunct="1">
                  <a:buClr>
                    <a:schemeClr val="tx2"/>
                  </a:buClr>
                  <a:buSzPct val="100000"/>
                  <a:defRPr lang="en-US" sz="1568" baseline="0" dirty="0">
                    <a:latin typeface="+mn-lt"/>
                  </a:defRPr>
                </a:lvl1pPr>
                <a:lvl2pPr marL="190531" lvl="1" indent="-187003" defTabSz="877533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sz="1568" baseline="0" dirty="0">
                    <a:latin typeface="+mn-lt"/>
                  </a:defRPr>
                </a:lvl2pPr>
                <a:lvl3pPr marL="437517" lvl="2" indent="-243457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sz="1568" baseline="0" dirty="0">
                    <a:latin typeface="+mn-lt"/>
                  </a:defRPr>
                </a:lvl3pPr>
                <a:lvl4pPr marL="603350" lvl="3" indent="-151719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sz="1568" baseline="0" dirty="0">
                    <a:latin typeface="+mn-lt"/>
                  </a:defRPr>
                </a:lvl4pPr>
                <a:lvl5pPr marL="733899" lvl="4" indent="-127021" defTabSz="877533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sz="1568" baseline="0" dirty="0">
                    <a:latin typeface="+mn-lt"/>
                  </a:defRPr>
                </a:lvl5pPr>
                <a:lvl6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6pPr>
                <a:lvl7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7pPr>
                <a:lvl8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8pPr>
                <a:lvl9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9pPr>
              </a:lstStyle>
              <a:p>
                <a:pPr defTabSz="895078">
                  <a:buClr>
                    <a:srgbClr val="143A83"/>
                  </a:buClr>
                  <a:defRPr/>
                </a:pPr>
                <a:r>
                  <a:rPr lang="hu-HU" sz="1632">
                    <a:solidFill>
                      <a:srgbClr val="FFFFFF"/>
                    </a:solidFill>
                    <a:latin typeface="Open Sans"/>
                  </a:rPr>
                  <a:t>63%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2C6527F8-120A-4599-884C-F6FD9CF57C7B}"/>
                  </a:ext>
                </a:extLst>
              </p:cNvPr>
              <p:cNvSpPr txBox="1"/>
              <p:nvPr/>
            </p:nvSpPr>
            <p:spPr>
              <a:xfrm>
                <a:off x="6290271" y="2043404"/>
                <a:ext cx="1128132" cy="108571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77533" eaLnBrk="1" latinLnBrk="0" hangingPunct="1">
                  <a:buClr>
                    <a:schemeClr val="tx2"/>
                  </a:buClr>
                  <a:buSzPct val="100000"/>
                  <a:defRPr lang="en-US" sz="1568" baseline="0" dirty="0">
                    <a:latin typeface="+mn-lt"/>
                  </a:defRPr>
                </a:lvl1pPr>
                <a:lvl2pPr marL="190531" lvl="1" indent="-187003" defTabSz="877533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sz="1568" baseline="0" dirty="0">
                    <a:latin typeface="+mn-lt"/>
                  </a:defRPr>
                </a:lvl2pPr>
                <a:lvl3pPr marL="437517" lvl="2" indent="-243457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sz="1568" baseline="0" dirty="0">
                    <a:latin typeface="+mn-lt"/>
                  </a:defRPr>
                </a:lvl3pPr>
                <a:lvl4pPr marL="603350" lvl="3" indent="-151719" defTabSz="877533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sz="1568" baseline="0" dirty="0">
                    <a:latin typeface="+mn-lt"/>
                  </a:defRPr>
                </a:lvl4pPr>
                <a:lvl5pPr marL="733899" lvl="4" indent="-127021" defTabSz="877533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sz="1568" baseline="0" dirty="0">
                    <a:latin typeface="+mn-lt"/>
                  </a:defRPr>
                </a:lvl5pPr>
                <a:lvl6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6pPr>
                <a:lvl7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7pPr>
                <a:lvl8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8pPr>
                <a:lvl9pPr marL="979898" indent="-170121" defTabSz="117010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091" baseline="0">
                    <a:latin typeface="+mn-lt"/>
                  </a:defRPr>
                </a:lvl9pPr>
              </a:lstStyle>
              <a:p>
                <a:pPr algn="ctr" defTabSz="895078">
                  <a:buClr>
                    <a:srgbClr val="FFFFFF"/>
                  </a:buClr>
                  <a:defRPr/>
                </a:pPr>
                <a:r>
                  <a:rPr lang="hu-HU" sz="1799" b="1" dirty="0">
                    <a:solidFill>
                      <a:srgbClr val="000000"/>
                    </a:solidFill>
                    <a:latin typeface="Open Sans"/>
                  </a:rPr>
                  <a:t>USD </a:t>
                </a:r>
                <a:br>
                  <a:rPr lang="hu-HU" sz="1799" b="1" dirty="0">
                    <a:solidFill>
                      <a:srgbClr val="00ADEF"/>
                    </a:solidFill>
                    <a:latin typeface="Open Sans"/>
                  </a:rPr>
                </a:br>
                <a:r>
                  <a:rPr lang="hu-HU" sz="1799" b="1" dirty="0">
                    <a:solidFill>
                      <a:srgbClr val="00ADEF"/>
                    </a:solidFill>
                    <a:latin typeface="Open Sans"/>
                  </a:rPr>
                  <a:t>~</a:t>
                </a:r>
                <a:r>
                  <a:rPr lang="en-US" sz="1799" b="1" dirty="0">
                    <a:solidFill>
                      <a:srgbClr val="00ADEF"/>
                    </a:solidFill>
                    <a:latin typeface="Open Sans"/>
                  </a:rPr>
                  <a:t>250</a:t>
                </a:r>
                <a:r>
                  <a:rPr lang="hu-HU" sz="1799" b="1" dirty="0">
                    <a:solidFill>
                      <a:srgbClr val="00ADEF"/>
                    </a:solidFill>
                    <a:latin typeface="Open Sans"/>
                  </a:rPr>
                  <a:t> </a:t>
                </a:r>
                <a:r>
                  <a:rPr lang="hu-HU" sz="1799" b="1" dirty="0">
                    <a:solidFill>
                      <a:srgbClr val="000000"/>
                    </a:solidFill>
                    <a:latin typeface="Open Sans"/>
                  </a:rPr>
                  <a:t>M</a:t>
                </a:r>
              </a:p>
              <a:p>
                <a:pPr algn="ctr" defTabSz="895078">
                  <a:spcAft>
                    <a:spcPts val="204"/>
                  </a:spcAft>
                  <a:buClr>
                    <a:srgbClr val="FFFFFF"/>
                  </a:buClr>
                  <a:defRPr/>
                </a:pPr>
                <a:r>
                  <a:rPr lang="hu-HU" sz="1799" b="1" dirty="0">
                    <a:solidFill>
                      <a:srgbClr val="000000"/>
                    </a:solidFill>
                    <a:latin typeface="Open Sans"/>
                  </a:rPr>
                  <a:t>bevétel 201</a:t>
                </a:r>
                <a:r>
                  <a:rPr lang="en-US" sz="1799" b="1" dirty="0">
                    <a:solidFill>
                      <a:srgbClr val="000000"/>
                    </a:solidFill>
                    <a:latin typeface="Open Sans"/>
                  </a:rPr>
                  <a:t>9</a:t>
                </a:r>
                <a:r>
                  <a:rPr lang="hu-HU" sz="1799" b="1" dirty="0">
                    <a:solidFill>
                      <a:srgbClr val="000000"/>
                    </a:solidFill>
                    <a:latin typeface="Open Sans"/>
                  </a:rPr>
                  <a:t>-b</a:t>
                </a:r>
                <a:r>
                  <a:rPr lang="en-US" sz="1799" b="1" dirty="0">
                    <a:solidFill>
                      <a:srgbClr val="000000"/>
                    </a:solidFill>
                    <a:latin typeface="Open Sans"/>
                  </a:rPr>
                  <a:t>e</a:t>
                </a:r>
                <a:r>
                  <a:rPr lang="hu-HU" sz="1799" b="1" dirty="0">
                    <a:solidFill>
                      <a:srgbClr val="000000"/>
                    </a:solidFill>
                    <a:latin typeface="Open Sans"/>
                  </a:rPr>
                  <a:t>n</a:t>
                </a: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7866826-08C4-4EC9-9798-AC48A5BEC69E}"/>
              </a:ext>
            </a:extLst>
          </p:cNvPr>
          <p:cNvGrpSpPr/>
          <p:nvPr/>
        </p:nvGrpSpPr>
        <p:grpSpPr>
          <a:xfrm>
            <a:off x="3545370" y="1713563"/>
            <a:ext cx="2754046" cy="251094"/>
            <a:chOff x="5542256" y="1736919"/>
            <a:chExt cx="2699923" cy="246160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0E5A067-E784-4E50-8D21-BCBDE25739E0}"/>
                </a:ext>
              </a:extLst>
            </p:cNvPr>
            <p:cNvSpPr txBox="1">
              <a:spLocks/>
            </p:cNvSpPr>
            <p:nvPr/>
          </p:nvSpPr>
          <p:spPr>
            <a:xfrm>
              <a:off x="5788130" y="1736919"/>
              <a:ext cx="699790" cy="24616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dirty="0">
                  <a:latin typeface="+mn-lt"/>
                </a:defRPr>
              </a:lvl1pPr>
              <a:lvl2pPr marL="190531" lvl="1" indent="-187003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dirty="0">
                  <a:latin typeface="+mn-lt"/>
                </a:defRPr>
              </a:lvl2pPr>
              <a:lvl3pPr marL="437517" lvl="2" indent="-243457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dirty="0">
                  <a:latin typeface="+mn-lt"/>
                </a:defRPr>
              </a:lvl3pPr>
              <a:lvl4pPr marL="603350" lvl="3" indent="-15171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dirty="0">
                  <a:latin typeface="+mn-lt"/>
                </a:defRPr>
              </a:lvl4pPr>
              <a:lvl5pPr marL="733899" lvl="4" indent="-127021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dirty="0">
                  <a:latin typeface="+mn-lt"/>
                </a:defRPr>
              </a:lvl5pPr>
              <a:lvl6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6pPr>
              <a:lvl7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7pPr>
              <a:lvl8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8pPr>
              <a:lvl9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9pPr>
            </a:lstStyle>
            <a:p>
              <a:pPr defTabSz="895078">
                <a:buClr>
                  <a:srgbClr val="143A83"/>
                </a:buClr>
                <a:defRPr/>
              </a:pPr>
              <a:r>
                <a:rPr lang="hu-HU" sz="816">
                  <a:solidFill>
                    <a:srgbClr val="F0F0F0">
                      <a:lumMod val="10000"/>
                    </a:srgbClr>
                  </a:solidFill>
                  <a:latin typeface="Open Sans"/>
                </a:rPr>
                <a:t>Hagyományos világítá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8F221C7-5D8B-41ED-8937-D54AE742A541}"/>
                </a:ext>
              </a:extLst>
            </p:cNvPr>
            <p:cNvSpPr txBox="1">
              <a:spLocks/>
            </p:cNvSpPr>
            <p:nvPr/>
          </p:nvSpPr>
          <p:spPr>
            <a:xfrm>
              <a:off x="6870090" y="1736919"/>
              <a:ext cx="552792" cy="24616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dirty="0">
                  <a:latin typeface="+mn-lt"/>
                </a:defRPr>
              </a:lvl1pPr>
              <a:lvl2pPr marL="190531" lvl="1" indent="-187003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dirty="0">
                  <a:latin typeface="+mn-lt"/>
                </a:defRPr>
              </a:lvl2pPr>
              <a:lvl3pPr marL="437517" lvl="2" indent="-243457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dirty="0">
                  <a:latin typeface="+mn-lt"/>
                </a:defRPr>
              </a:lvl3pPr>
              <a:lvl4pPr marL="603350" lvl="3" indent="-15171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dirty="0">
                  <a:latin typeface="+mn-lt"/>
                </a:defRPr>
              </a:lvl4pPr>
              <a:lvl5pPr marL="733899" lvl="4" indent="-127021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dirty="0">
                  <a:latin typeface="+mn-lt"/>
                </a:defRPr>
              </a:lvl5pPr>
              <a:lvl6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6pPr>
              <a:lvl7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7pPr>
              <a:lvl8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8pPr>
              <a:lvl9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9pPr>
            </a:lstStyle>
            <a:p>
              <a:pPr defTabSz="895078">
                <a:buClr>
                  <a:srgbClr val="143A83"/>
                </a:buClr>
                <a:defRPr/>
              </a:pPr>
              <a:r>
                <a:rPr lang="hu-HU" sz="816">
                  <a:solidFill>
                    <a:srgbClr val="F0F0F0">
                      <a:lumMod val="10000"/>
                    </a:srgbClr>
                  </a:solidFill>
                  <a:latin typeface="Open Sans"/>
                </a:rPr>
                <a:t>Autó-lámpák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C1C84D1-2953-42C5-B5D7-A222791A21C1}"/>
                </a:ext>
              </a:extLst>
            </p:cNvPr>
            <p:cNvSpPr txBox="1">
              <a:spLocks/>
            </p:cNvSpPr>
            <p:nvPr/>
          </p:nvSpPr>
          <p:spPr>
            <a:xfrm>
              <a:off x="7543497" y="1736919"/>
              <a:ext cx="698682" cy="1255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dirty="0">
                  <a:latin typeface="+mn-lt"/>
                </a:defRPr>
              </a:lvl1pPr>
              <a:lvl2pPr marL="190531" lvl="1" indent="-187003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dirty="0">
                  <a:latin typeface="+mn-lt"/>
                </a:defRPr>
              </a:lvl2pPr>
              <a:lvl3pPr marL="437517" lvl="2" indent="-243457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dirty="0">
                  <a:latin typeface="+mn-lt"/>
                </a:defRPr>
              </a:lvl3pPr>
              <a:lvl4pPr marL="603350" lvl="3" indent="-15171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dirty="0">
                  <a:latin typeface="+mn-lt"/>
                </a:defRPr>
              </a:lvl4pPr>
              <a:lvl5pPr marL="733899" lvl="4" indent="-127021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dirty="0">
                  <a:latin typeface="+mn-lt"/>
                </a:defRPr>
              </a:lvl5pPr>
              <a:lvl6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6pPr>
              <a:lvl7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7pPr>
              <a:lvl8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8pPr>
              <a:lvl9pPr marL="979898" indent="-170121" defTabSz="117010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091" baseline="0">
                  <a:latin typeface="+mn-lt"/>
                </a:defRPr>
              </a:lvl9pPr>
            </a:lstStyle>
            <a:p>
              <a:pPr defTabSz="895078">
                <a:buClr>
                  <a:srgbClr val="143A83"/>
                </a:buClr>
                <a:defRPr/>
              </a:pPr>
              <a:r>
                <a:rPr lang="hu-HU" sz="816">
                  <a:solidFill>
                    <a:srgbClr val="F0F0F0">
                      <a:lumMod val="10000"/>
                    </a:srgbClr>
                  </a:solidFill>
                  <a:latin typeface="Open Sans"/>
                </a:rPr>
                <a:t>Alkatrészek</a:t>
              </a: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70B3B4DA-E3C5-4B3B-818E-2748B200D91E}"/>
                </a:ext>
              </a:extLst>
            </p:cNvPr>
            <p:cNvSpPr/>
            <p:nvPr/>
          </p:nvSpPr>
          <p:spPr>
            <a:xfrm>
              <a:off x="5542256" y="1736919"/>
              <a:ext cx="182880" cy="18288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23231D7B-D8CB-47F0-B56A-5DEFB274B176}"/>
                </a:ext>
              </a:extLst>
            </p:cNvPr>
            <p:cNvSpPr/>
            <p:nvPr/>
          </p:nvSpPr>
          <p:spPr>
            <a:xfrm>
              <a:off x="6624215" y="1736919"/>
              <a:ext cx="182880" cy="18288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D6F91A08-7B84-4743-A640-985EAE47D59F}"/>
                </a:ext>
              </a:extLst>
            </p:cNvPr>
            <p:cNvSpPr/>
            <p:nvPr/>
          </p:nvSpPr>
          <p:spPr>
            <a:xfrm>
              <a:off x="7324519" y="1736919"/>
              <a:ext cx="182880" cy="182880"/>
            </a:xfrm>
            <a:prstGeom prst="ellipse">
              <a:avLst/>
            </a:prstGeom>
            <a:solidFill>
              <a:srgbClr val="8497B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17DD7C3-CAF3-4C30-8C38-640AC5611582}"/>
              </a:ext>
            </a:extLst>
          </p:cNvPr>
          <p:cNvCxnSpPr>
            <a:cxnSpLocks/>
          </p:cNvCxnSpPr>
          <p:nvPr/>
        </p:nvCxnSpPr>
        <p:spPr>
          <a:xfrm>
            <a:off x="9105743" y="1464196"/>
            <a:ext cx="18102" cy="3321428"/>
          </a:xfrm>
          <a:prstGeom prst="line">
            <a:avLst/>
          </a:prstGeom>
          <a:ln w="19050">
            <a:solidFill>
              <a:srgbClr val="11287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442CA23D-002A-41F9-B496-E50557B15901}"/>
              </a:ext>
            </a:extLst>
          </p:cNvPr>
          <p:cNvSpPr txBox="1">
            <a:spLocks/>
          </p:cNvSpPr>
          <p:nvPr/>
        </p:nvSpPr>
        <p:spPr>
          <a:xfrm>
            <a:off x="9153931" y="1717716"/>
            <a:ext cx="2571960" cy="5281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algn="ctr" defTabSz="895078">
              <a:buClr>
                <a:srgbClr val="FFFFFF"/>
              </a:buClr>
              <a:defRPr/>
            </a:pPr>
            <a:r>
              <a:rPr lang="hu-HU" sz="1800" b="1" dirty="0">
                <a:solidFill>
                  <a:srgbClr val="005EB8"/>
                </a:solidFill>
                <a:latin typeface="Open Sans"/>
              </a:rPr>
              <a:t>Tungsram Edge</a:t>
            </a:r>
            <a:br>
              <a:rPr lang="hu-HU" sz="1632" dirty="0">
                <a:solidFill>
                  <a:srgbClr val="F0F0F0">
                    <a:lumMod val="10000"/>
                  </a:srgbClr>
                </a:solidFill>
                <a:latin typeface="Open Sans"/>
              </a:rPr>
            </a:br>
            <a:r>
              <a:rPr lang="hu-HU" sz="1632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új innovatív üzletág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6C113296-B33F-4829-9B46-207CCBE6DA2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2736"/>
          <a:stretch/>
        </p:blipFill>
        <p:spPr>
          <a:xfrm>
            <a:off x="9157118" y="2369739"/>
            <a:ext cx="889151" cy="1113835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2EAFBBEE-B1AC-4B83-AB17-5DEAA2DFA0B9}"/>
              </a:ext>
            </a:extLst>
          </p:cNvPr>
          <p:cNvSpPr txBox="1">
            <a:spLocks/>
          </p:cNvSpPr>
          <p:nvPr/>
        </p:nvSpPr>
        <p:spPr>
          <a:xfrm>
            <a:off x="10055319" y="2376973"/>
            <a:ext cx="1633921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defTabSz="895078">
              <a:buClr>
                <a:srgbClr val="FFFFFF"/>
              </a:buClr>
              <a:defRPr/>
            </a:pPr>
            <a:r>
              <a:rPr lang="hu-HU" sz="1500" b="1" dirty="0" err="1">
                <a:solidFill>
                  <a:srgbClr val="005EB8"/>
                </a:solidFill>
                <a:latin typeface="Open Sans"/>
              </a:rPr>
              <a:t>Agritech</a:t>
            </a:r>
            <a:br>
              <a:rPr lang="hu-HU" sz="1500" dirty="0">
                <a:solidFill>
                  <a:srgbClr val="F0F0F0">
                    <a:lumMod val="10000"/>
                  </a:srgbClr>
                </a:solidFill>
                <a:latin typeface="Open Sans"/>
              </a:rPr>
            </a:br>
            <a:r>
              <a:rPr lang="hu-HU" sz="150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Beltéri kertésze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78ECB64-65AA-441F-AC7E-C7116B5D0717}"/>
              </a:ext>
            </a:extLst>
          </p:cNvPr>
          <p:cNvSpPr txBox="1">
            <a:spLocks/>
          </p:cNvSpPr>
          <p:nvPr/>
        </p:nvSpPr>
        <p:spPr>
          <a:xfrm>
            <a:off x="10055320" y="2954754"/>
            <a:ext cx="1633921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defTabSz="895078">
              <a:buClr>
                <a:srgbClr val="FFFFFF"/>
              </a:buClr>
              <a:defRPr/>
            </a:pPr>
            <a:r>
              <a:rPr lang="hu-HU" sz="1500" b="1" dirty="0">
                <a:solidFill>
                  <a:srgbClr val="005EB8"/>
                </a:solidFill>
                <a:latin typeface="Open Sans"/>
              </a:rPr>
              <a:t>Okos Város Megoldások</a:t>
            </a:r>
            <a:endParaRPr lang="hu-HU" sz="1500" dirty="0">
              <a:solidFill>
                <a:srgbClr val="F0F0F0">
                  <a:lumMod val="10000"/>
                </a:srgbClr>
              </a:solidFill>
              <a:latin typeface="Open San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B008D6F-340A-4862-8CA9-44C86A5B7606}"/>
              </a:ext>
            </a:extLst>
          </p:cNvPr>
          <p:cNvSpPr txBox="1">
            <a:spLocks/>
          </p:cNvSpPr>
          <p:nvPr/>
        </p:nvSpPr>
        <p:spPr>
          <a:xfrm>
            <a:off x="10055319" y="3489555"/>
            <a:ext cx="174738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defTabSz="895078">
              <a:buClr>
                <a:srgbClr val="FFFFFF"/>
              </a:buClr>
              <a:defRPr/>
            </a:pPr>
            <a:r>
              <a:rPr lang="hu-HU" sz="1500" b="1">
                <a:solidFill>
                  <a:srgbClr val="005EB8"/>
                </a:solidFill>
                <a:latin typeface="Open Sans"/>
              </a:rPr>
              <a:t>Létesítmény Technológia</a:t>
            </a:r>
            <a:br>
              <a:rPr lang="hu-HU" sz="1500" b="1">
                <a:solidFill>
                  <a:srgbClr val="005EB8"/>
                </a:solidFill>
                <a:latin typeface="Open Sans"/>
              </a:rPr>
            </a:br>
            <a:r>
              <a:rPr lang="hu-HU" sz="1500">
                <a:solidFill>
                  <a:prstClr val="black"/>
                </a:solidFill>
                <a:latin typeface="Open Sans"/>
              </a:rPr>
              <a:t>(PropTech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D84D5CA-B039-4EAD-962B-E0B31105EF73}"/>
              </a:ext>
            </a:extLst>
          </p:cNvPr>
          <p:cNvSpPr txBox="1">
            <a:spLocks/>
          </p:cNvSpPr>
          <p:nvPr/>
        </p:nvSpPr>
        <p:spPr>
          <a:xfrm>
            <a:off x="10064555" y="4265000"/>
            <a:ext cx="1915112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dirty="0">
                <a:latin typeface="+mn-lt"/>
              </a:defRPr>
            </a:lvl1pPr>
            <a:lvl2pPr marL="190531" lvl="1" indent="-187003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dirty="0">
                <a:latin typeface="+mn-lt"/>
              </a:defRPr>
            </a:lvl2pPr>
            <a:lvl3pPr marL="437517" lvl="2" indent="-243457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dirty="0">
                <a:latin typeface="+mn-lt"/>
              </a:defRPr>
            </a:lvl3pPr>
            <a:lvl4pPr marL="603350" lvl="3" indent="-15171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dirty="0">
                <a:latin typeface="+mn-lt"/>
              </a:defRPr>
            </a:lvl4pPr>
            <a:lvl5pPr marL="733899" lvl="4" indent="-127021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dirty="0">
                <a:latin typeface="+mn-lt"/>
              </a:defRPr>
            </a:lvl5pPr>
            <a:lvl6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6pPr>
            <a:lvl7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7pPr>
            <a:lvl8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8pPr>
            <a:lvl9pPr marL="979898" indent="-170121" defTabSz="117010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91" baseline="0">
                <a:latin typeface="+mn-lt"/>
              </a:defRPr>
            </a:lvl9pPr>
          </a:lstStyle>
          <a:p>
            <a:pPr defTabSz="895078">
              <a:buClr>
                <a:srgbClr val="FFFFFF"/>
              </a:buClr>
              <a:defRPr/>
            </a:pPr>
            <a:r>
              <a:rPr lang="hu-HU" sz="1500" b="1">
                <a:solidFill>
                  <a:srgbClr val="005EB8"/>
                </a:solidFill>
                <a:latin typeface="Open Sans"/>
              </a:rPr>
              <a:t>Innovációs Központ </a:t>
            </a:r>
            <a:r>
              <a:rPr lang="hu-HU" sz="1500">
                <a:solidFill>
                  <a:srgbClr val="F0F0F0">
                    <a:lumMod val="10000"/>
                  </a:srgbClr>
                </a:solidFill>
                <a:latin typeface="Open Sans"/>
              </a:rPr>
              <a:t>(InnoHUB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82985C1-5A63-4F3A-B112-504E9BC93BF1}"/>
              </a:ext>
            </a:extLst>
          </p:cNvPr>
          <p:cNvSpPr txBox="1">
            <a:spLocks/>
          </p:cNvSpPr>
          <p:nvPr/>
        </p:nvSpPr>
        <p:spPr>
          <a:xfrm>
            <a:off x="518941" y="5594773"/>
            <a:ext cx="1434379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96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5 üzem a fejlett világítási technológiák és alkatrészek számára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D5167DF-0C70-4B49-BE67-BE682C5EB410}"/>
              </a:ext>
            </a:extLst>
          </p:cNvPr>
          <p:cNvSpPr txBox="1">
            <a:spLocks/>
          </p:cNvSpPr>
          <p:nvPr/>
        </p:nvSpPr>
        <p:spPr>
          <a:xfrm>
            <a:off x="2093733" y="5599232"/>
            <a:ext cx="1686657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96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20+ Tungsram leányvállalat globális szinten;</a:t>
            </a:r>
            <a:b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</a:b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globális hozzáférés biztosítása a hazai </a:t>
            </a:r>
            <a:b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</a:b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KKV-k számár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CA36A4A-ABEE-4625-B766-A8F0133EC498}"/>
              </a:ext>
            </a:extLst>
          </p:cNvPr>
          <p:cNvSpPr txBox="1">
            <a:spLocks/>
          </p:cNvSpPr>
          <p:nvPr/>
        </p:nvSpPr>
        <p:spPr>
          <a:xfrm>
            <a:off x="4028203" y="5594772"/>
            <a:ext cx="159327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96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Kerámia, fém, üveg, műanyag minőségi megmunkálása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00E8A8-3CAF-49EE-B1C7-D1B7520542B1}"/>
              </a:ext>
            </a:extLst>
          </p:cNvPr>
          <p:cNvSpPr txBox="1">
            <a:spLocks/>
          </p:cNvSpPr>
          <p:nvPr/>
        </p:nvSpPr>
        <p:spPr>
          <a:xfrm>
            <a:off x="5713934" y="5604849"/>
            <a:ext cx="184342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96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Bővülő hazai technológiai központ, okos megoldások;</a:t>
            </a:r>
            <a:b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</a:b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Szoros kapcsolat a hazai és a globális kutatókkal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36C22BFB-9ACC-4191-971C-06F3BAD3734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4575" t="15308" r="57971" b="38647"/>
          <a:stretch/>
        </p:blipFill>
        <p:spPr>
          <a:xfrm>
            <a:off x="4599382" y="4963941"/>
            <a:ext cx="449018" cy="449477"/>
          </a:xfrm>
          <a:prstGeom prst="ellipse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31D6A97D-9E48-4B91-BE4A-DF309B2A7B8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5437" t="15308" r="7109" b="38647"/>
          <a:stretch/>
        </p:blipFill>
        <p:spPr>
          <a:xfrm>
            <a:off x="2811633" y="4963941"/>
            <a:ext cx="449018" cy="449477"/>
          </a:xfrm>
          <a:prstGeom prst="ellipse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A72E93C4-8D6B-4B72-93F7-F6DAE0C56FE5}"/>
              </a:ext>
            </a:extLst>
          </p:cNvPr>
          <p:cNvGrpSpPr/>
          <p:nvPr/>
        </p:nvGrpSpPr>
        <p:grpSpPr>
          <a:xfrm>
            <a:off x="1023884" y="4963941"/>
            <a:ext cx="449018" cy="449477"/>
            <a:chOff x="3114062" y="5063202"/>
            <a:chExt cx="440194" cy="440644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A590A54-B02D-44F3-AFEE-2BF86DE5355B}"/>
                </a:ext>
              </a:extLst>
            </p:cNvPr>
            <p:cNvSpPr>
              <a:spLocks/>
            </p:cNvSpPr>
            <p:nvPr/>
          </p:nvSpPr>
          <p:spPr>
            <a:xfrm>
              <a:off x="3114062" y="5063202"/>
              <a:ext cx="440194" cy="440644"/>
            </a:xfrm>
            <a:prstGeom prst="ellipse">
              <a:avLst/>
            </a:prstGeom>
            <a:solidFill>
              <a:srgbClr val="2073B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  <p:grpSp>
          <p:nvGrpSpPr>
            <p:cNvPr id="80" name="CustomIcon">
              <a:extLst>
                <a:ext uri="{FF2B5EF4-FFF2-40B4-BE49-F238E27FC236}">
                  <a16:creationId xmlns:a16="http://schemas.microsoft.com/office/drawing/2014/main" id="{97AC5BB8-2A33-4326-8614-F7E87E13BFD1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3197236" y="5147225"/>
              <a:ext cx="273846" cy="272598"/>
              <a:chOff x="-3175" y="-3175"/>
              <a:chExt cx="1392238" cy="1385888"/>
            </a:xfrm>
            <a:solidFill>
              <a:schemeClr val="bg1"/>
            </a:solidFill>
          </p:grpSpPr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ADB9F803-3D13-4781-A929-10E4EA3E58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175" y="-3175"/>
                <a:ext cx="1392238" cy="1385888"/>
              </a:xfrm>
              <a:custGeom>
                <a:avLst/>
                <a:gdLst>
                  <a:gd name="T0" fmla="*/ 427 w 427"/>
                  <a:gd name="T1" fmla="*/ 415 h 425"/>
                  <a:gd name="T2" fmla="*/ 384 w 427"/>
                  <a:gd name="T3" fmla="*/ 8 h 425"/>
                  <a:gd name="T4" fmla="*/ 375 w 427"/>
                  <a:gd name="T5" fmla="*/ 0 h 425"/>
                  <a:gd name="T6" fmla="*/ 321 w 427"/>
                  <a:gd name="T7" fmla="*/ 0 h 425"/>
                  <a:gd name="T8" fmla="*/ 312 w 427"/>
                  <a:gd name="T9" fmla="*/ 8 h 425"/>
                  <a:gd name="T10" fmla="*/ 291 w 427"/>
                  <a:gd name="T11" fmla="*/ 261 h 425"/>
                  <a:gd name="T12" fmla="*/ 283 w 427"/>
                  <a:gd name="T13" fmla="*/ 261 h 425"/>
                  <a:gd name="T14" fmla="*/ 283 w 427"/>
                  <a:gd name="T15" fmla="*/ 134 h 425"/>
                  <a:gd name="T16" fmla="*/ 278 w 427"/>
                  <a:gd name="T17" fmla="*/ 126 h 425"/>
                  <a:gd name="T18" fmla="*/ 269 w 427"/>
                  <a:gd name="T19" fmla="*/ 127 h 425"/>
                  <a:gd name="T20" fmla="*/ 170 w 427"/>
                  <a:gd name="T21" fmla="*/ 201 h 425"/>
                  <a:gd name="T22" fmla="*/ 170 w 427"/>
                  <a:gd name="T23" fmla="*/ 134 h 425"/>
                  <a:gd name="T24" fmla="*/ 165 w 427"/>
                  <a:gd name="T25" fmla="*/ 126 h 425"/>
                  <a:gd name="T26" fmla="*/ 156 w 427"/>
                  <a:gd name="T27" fmla="*/ 127 h 425"/>
                  <a:gd name="T28" fmla="*/ 51 w 427"/>
                  <a:gd name="T29" fmla="*/ 207 h 425"/>
                  <a:gd name="T30" fmla="*/ 10 w 427"/>
                  <a:gd name="T31" fmla="*/ 207 h 425"/>
                  <a:gd name="T32" fmla="*/ 0 w 427"/>
                  <a:gd name="T33" fmla="*/ 216 h 425"/>
                  <a:gd name="T34" fmla="*/ 0 w 427"/>
                  <a:gd name="T35" fmla="*/ 416 h 425"/>
                  <a:gd name="T36" fmla="*/ 10 w 427"/>
                  <a:gd name="T37" fmla="*/ 425 h 425"/>
                  <a:gd name="T38" fmla="*/ 418 w 427"/>
                  <a:gd name="T39" fmla="*/ 425 h 425"/>
                  <a:gd name="T40" fmla="*/ 425 w 427"/>
                  <a:gd name="T41" fmla="*/ 422 h 425"/>
                  <a:gd name="T42" fmla="*/ 427 w 427"/>
                  <a:gd name="T43" fmla="*/ 415 h 425"/>
                  <a:gd name="T44" fmla="*/ 19 w 427"/>
                  <a:gd name="T45" fmla="*/ 407 h 425"/>
                  <a:gd name="T46" fmla="*/ 19 w 427"/>
                  <a:gd name="T47" fmla="*/ 225 h 425"/>
                  <a:gd name="T48" fmla="*/ 54 w 427"/>
                  <a:gd name="T49" fmla="*/ 225 h 425"/>
                  <a:gd name="T50" fmla="*/ 60 w 427"/>
                  <a:gd name="T51" fmla="*/ 224 h 425"/>
                  <a:gd name="T52" fmla="*/ 152 w 427"/>
                  <a:gd name="T53" fmla="*/ 153 h 425"/>
                  <a:gd name="T54" fmla="*/ 152 w 427"/>
                  <a:gd name="T55" fmla="*/ 219 h 425"/>
                  <a:gd name="T56" fmla="*/ 157 w 427"/>
                  <a:gd name="T57" fmla="*/ 227 h 425"/>
                  <a:gd name="T58" fmla="*/ 166 w 427"/>
                  <a:gd name="T59" fmla="*/ 226 h 425"/>
                  <a:gd name="T60" fmla="*/ 265 w 427"/>
                  <a:gd name="T61" fmla="*/ 152 h 425"/>
                  <a:gd name="T62" fmla="*/ 265 w 427"/>
                  <a:gd name="T63" fmla="*/ 270 h 425"/>
                  <a:gd name="T64" fmla="*/ 274 w 427"/>
                  <a:gd name="T65" fmla="*/ 279 h 425"/>
                  <a:gd name="T66" fmla="*/ 300 w 427"/>
                  <a:gd name="T67" fmla="*/ 279 h 425"/>
                  <a:gd name="T68" fmla="*/ 309 w 427"/>
                  <a:gd name="T69" fmla="*/ 271 h 425"/>
                  <a:gd name="T70" fmla="*/ 330 w 427"/>
                  <a:gd name="T71" fmla="*/ 18 h 425"/>
                  <a:gd name="T72" fmla="*/ 367 w 427"/>
                  <a:gd name="T73" fmla="*/ 18 h 425"/>
                  <a:gd name="T74" fmla="*/ 408 w 427"/>
                  <a:gd name="T75" fmla="*/ 407 h 425"/>
                  <a:gd name="T76" fmla="*/ 19 w 427"/>
                  <a:gd name="T77" fmla="*/ 407 h 425"/>
                  <a:gd name="T78" fmla="*/ 19 w 427"/>
                  <a:gd name="T79" fmla="*/ 407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27" h="425">
                    <a:moveTo>
                      <a:pt x="427" y="415"/>
                    </a:moveTo>
                    <a:cubicBezTo>
                      <a:pt x="384" y="8"/>
                      <a:pt x="384" y="8"/>
                      <a:pt x="384" y="8"/>
                    </a:cubicBezTo>
                    <a:cubicBezTo>
                      <a:pt x="383" y="4"/>
                      <a:pt x="379" y="0"/>
                      <a:pt x="375" y="0"/>
                    </a:cubicBezTo>
                    <a:cubicBezTo>
                      <a:pt x="321" y="0"/>
                      <a:pt x="321" y="0"/>
                      <a:pt x="321" y="0"/>
                    </a:cubicBezTo>
                    <a:cubicBezTo>
                      <a:pt x="316" y="0"/>
                      <a:pt x="313" y="4"/>
                      <a:pt x="312" y="8"/>
                    </a:cubicBezTo>
                    <a:cubicBezTo>
                      <a:pt x="291" y="261"/>
                      <a:pt x="291" y="261"/>
                      <a:pt x="291" y="261"/>
                    </a:cubicBezTo>
                    <a:cubicBezTo>
                      <a:pt x="283" y="261"/>
                      <a:pt x="283" y="261"/>
                      <a:pt x="283" y="261"/>
                    </a:cubicBezTo>
                    <a:cubicBezTo>
                      <a:pt x="283" y="134"/>
                      <a:pt x="283" y="134"/>
                      <a:pt x="283" y="134"/>
                    </a:cubicBezTo>
                    <a:cubicBezTo>
                      <a:pt x="283" y="131"/>
                      <a:pt x="281" y="128"/>
                      <a:pt x="278" y="126"/>
                    </a:cubicBezTo>
                    <a:cubicBezTo>
                      <a:pt x="275" y="124"/>
                      <a:pt x="272" y="125"/>
                      <a:pt x="269" y="127"/>
                    </a:cubicBezTo>
                    <a:cubicBezTo>
                      <a:pt x="170" y="201"/>
                      <a:pt x="170" y="201"/>
                      <a:pt x="170" y="201"/>
                    </a:cubicBezTo>
                    <a:cubicBezTo>
                      <a:pt x="170" y="134"/>
                      <a:pt x="170" y="134"/>
                      <a:pt x="170" y="134"/>
                    </a:cubicBezTo>
                    <a:cubicBezTo>
                      <a:pt x="170" y="131"/>
                      <a:pt x="168" y="128"/>
                      <a:pt x="165" y="126"/>
                    </a:cubicBezTo>
                    <a:cubicBezTo>
                      <a:pt x="162" y="124"/>
                      <a:pt x="158" y="125"/>
                      <a:pt x="156" y="127"/>
                    </a:cubicBezTo>
                    <a:cubicBezTo>
                      <a:pt x="51" y="207"/>
                      <a:pt x="51" y="207"/>
                      <a:pt x="51" y="207"/>
                    </a:cubicBezTo>
                    <a:cubicBezTo>
                      <a:pt x="10" y="207"/>
                      <a:pt x="10" y="207"/>
                      <a:pt x="10" y="207"/>
                    </a:cubicBezTo>
                    <a:cubicBezTo>
                      <a:pt x="5" y="207"/>
                      <a:pt x="0" y="211"/>
                      <a:pt x="0" y="216"/>
                    </a:cubicBezTo>
                    <a:cubicBezTo>
                      <a:pt x="0" y="416"/>
                      <a:pt x="0" y="416"/>
                      <a:pt x="0" y="416"/>
                    </a:cubicBezTo>
                    <a:cubicBezTo>
                      <a:pt x="0" y="421"/>
                      <a:pt x="5" y="425"/>
                      <a:pt x="10" y="425"/>
                    </a:cubicBezTo>
                    <a:cubicBezTo>
                      <a:pt x="418" y="425"/>
                      <a:pt x="418" y="425"/>
                      <a:pt x="418" y="425"/>
                    </a:cubicBezTo>
                    <a:cubicBezTo>
                      <a:pt x="420" y="425"/>
                      <a:pt x="423" y="424"/>
                      <a:pt x="425" y="422"/>
                    </a:cubicBezTo>
                    <a:cubicBezTo>
                      <a:pt x="426" y="420"/>
                      <a:pt x="427" y="418"/>
                      <a:pt x="427" y="415"/>
                    </a:cubicBezTo>
                    <a:close/>
                    <a:moveTo>
                      <a:pt x="19" y="407"/>
                    </a:moveTo>
                    <a:cubicBezTo>
                      <a:pt x="19" y="225"/>
                      <a:pt x="19" y="225"/>
                      <a:pt x="19" y="225"/>
                    </a:cubicBezTo>
                    <a:cubicBezTo>
                      <a:pt x="54" y="225"/>
                      <a:pt x="54" y="225"/>
                      <a:pt x="54" y="225"/>
                    </a:cubicBezTo>
                    <a:cubicBezTo>
                      <a:pt x="56" y="225"/>
                      <a:pt x="58" y="225"/>
                      <a:pt x="60" y="224"/>
                    </a:cubicBezTo>
                    <a:cubicBezTo>
                      <a:pt x="152" y="153"/>
                      <a:pt x="152" y="153"/>
                      <a:pt x="152" y="153"/>
                    </a:cubicBezTo>
                    <a:cubicBezTo>
                      <a:pt x="152" y="219"/>
                      <a:pt x="152" y="219"/>
                      <a:pt x="152" y="219"/>
                    </a:cubicBezTo>
                    <a:cubicBezTo>
                      <a:pt x="152" y="222"/>
                      <a:pt x="154" y="225"/>
                      <a:pt x="157" y="227"/>
                    </a:cubicBezTo>
                    <a:cubicBezTo>
                      <a:pt x="160" y="228"/>
                      <a:pt x="164" y="228"/>
                      <a:pt x="166" y="226"/>
                    </a:cubicBezTo>
                    <a:cubicBezTo>
                      <a:pt x="265" y="152"/>
                      <a:pt x="265" y="152"/>
                      <a:pt x="265" y="152"/>
                    </a:cubicBezTo>
                    <a:cubicBezTo>
                      <a:pt x="265" y="270"/>
                      <a:pt x="265" y="270"/>
                      <a:pt x="265" y="270"/>
                    </a:cubicBezTo>
                    <a:cubicBezTo>
                      <a:pt x="265" y="275"/>
                      <a:pt x="269" y="279"/>
                      <a:pt x="274" y="279"/>
                    </a:cubicBezTo>
                    <a:cubicBezTo>
                      <a:pt x="300" y="279"/>
                      <a:pt x="300" y="279"/>
                      <a:pt x="300" y="279"/>
                    </a:cubicBezTo>
                    <a:cubicBezTo>
                      <a:pt x="305" y="279"/>
                      <a:pt x="308" y="275"/>
                      <a:pt x="309" y="271"/>
                    </a:cubicBezTo>
                    <a:cubicBezTo>
                      <a:pt x="330" y="18"/>
                      <a:pt x="330" y="18"/>
                      <a:pt x="330" y="18"/>
                    </a:cubicBezTo>
                    <a:cubicBezTo>
                      <a:pt x="367" y="18"/>
                      <a:pt x="367" y="18"/>
                      <a:pt x="367" y="18"/>
                    </a:cubicBezTo>
                    <a:cubicBezTo>
                      <a:pt x="408" y="407"/>
                      <a:pt x="408" y="407"/>
                      <a:pt x="408" y="407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07"/>
                      <a:pt x="19" y="407"/>
                      <a:pt x="19" y="407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chemeClr val="bg1">
                    <a:alpha val="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74DBEAC0-A427-4D76-A601-962E47BD7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475" y="952500"/>
                <a:ext cx="163513" cy="166688"/>
              </a:xfrm>
              <a:custGeom>
                <a:avLst/>
                <a:gdLst>
                  <a:gd name="T0" fmla="*/ 0 w 103"/>
                  <a:gd name="T1" fmla="*/ 0 h 105"/>
                  <a:gd name="T2" fmla="*/ 103 w 103"/>
                  <a:gd name="T3" fmla="*/ 0 h 105"/>
                  <a:gd name="T4" fmla="*/ 103 w 103"/>
                  <a:gd name="T5" fmla="*/ 105 h 105"/>
                  <a:gd name="T6" fmla="*/ 0 w 103"/>
                  <a:gd name="T7" fmla="*/ 105 h 105"/>
                  <a:gd name="T8" fmla="*/ 0 w 103"/>
                  <a:gd name="T9" fmla="*/ 0 h 105"/>
                  <a:gd name="T10" fmla="*/ 0 w 103"/>
                  <a:gd name="T11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5">
                    <a:moveTo>
                      <a:pt x="0" y="0"/>
                    </a:moveTo>
                    <a:lnTo>
                      <a:pt x="103" y="0"/>
                    </a:lnTo>
                    <a:lnTo>
                      <a:pt x="103" y="105"/>
                    </a:lnTo>
                    <a:lnTo>
                      <a:pt x="0" y="10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chemeClr val="bg1">
                    <a:alpha val="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83" name="Freeform 12">
                <a:extLst>
                  <a:ext uri="{FF2B5EF4-FFF2-40B4-BE49-F238E27FC236}">
                    <a16:creationId xmlns:a16="http://schemas.microsoft.com/office/drawing/2014/main" id="{0A966792-858F-4CED-A59B-C74EC7321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52500"/>
                <a:ext cx="163513" cy="166688"/>
              </a:xfrm>
              <a:custGeom>
                <a:avLst/>
                <a:gdLst>
                  <a:gd name="T0" fmla="*/ 0 w 103"/>
                  <a:gd name="T1" fmla="*/ 0 h 105"/>
                  <a:gd name="T2" fmla="*/ 103 w 103"/>
                  <a:gd name="T3" fmla="*/ 0 h 105"/>
                  <a:gd name="T4" fmla="*/ 103 w 103"/>
                  <a:gd name="T5" fmla="*/ 105 h 105"/>
                  <a:gd name="T6" fmla="*/ 0 w 103"/>
                  <a:gd name="T7" fmla="*/ 105 h 105"/>
                  <a:gd name="T8" fmla="*/ 0 w 103"/>
                  <a:gd name="T9" fmla="*/ 0 h 105"/>
                  <a:gd name="T10" fmla="*/ 0 w 103"/>
                  <a:gd name="T11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5">
                    <a:moveTo>
                      <a:pt x="0" y="0"/>
                    </a:moveTo>
                    <a:lnTo>
                      <a:pt x="103" y="0"/>
                    </a:lnTo>
                    <a:lnTo>
                      <a:pt x="103" y="105"/>
                    </a:lnTo>
                    <a:lnTo>
                      <a:pt x="0" y="10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chemeClr val="bg1">
                    <a:alpha val="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45620671-CFE6-41B9-AFFF-935D4514F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25" y="952500"/>
                <a:ext cx="163513" cy="166688"/>
              </a:xfrm>
              <a:custGeom>
                <a:avLst/>
                <a:gdLst>
                  <a:gd name="T0" fmla="*/ 0 w 103"/>
                  <a:gd name="T1" fmla="*/ 0 h 105"/>
                  <a:gd name="T2" fmla="*/ 103 w 103"/>
                  <a:gd name="T3" fmla="*/ 0 h 105"/>
                  <a:gd name="T4" fmla="*/ 103 w 103"/>
                  <a:gd name="T5" fmla="*/ 105 h 105"/>
                  <a:gd name="T6" fmla="*/ 0 w 103"/>
                  <a:gd name="T7" fmla="*/ 105 h 105"/>
                  <a:gd name="T8" fmla="*/ 0 w 103"/>
                  <a:gd name="T9" fmla="*/ 0 h 105"/>
                  <a:gd name="T10" fmla="*/ 0 w 103"/>
                  <a:gd name="T11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5">
                    <a:moveTo>
                      <a:pt x="0" y="0"/>
                    </a:moveTo>
                    <a:lnTo>
                      <a:pt x="103" y="0"/>
                    </a:lnTo>
                    <a:lnTo>
                      <a:pt x="103" y="105"/>
                    </a:lnTo>
                    <a:lnTo>
                      <a:pt x="0" y="10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chemeClr val="bg1">
                    <a:alpha val="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3915DF6-AD0E-458D-959B-E0FC3910CFDD}"/>
              </a:ext>
            </a:extLst>
          </p:cNvPr>
          <p:cNvGrpSpPr/>
          <p:nvPr/>
        </p:nvGrpSpPr>
        <p:grpSpPr>
          <a:xfrm>
            <a:off x="6387131" y="4963941"/>
            <a:ext cx="449018" cy="449477"/>
            <a:chOff x="9735445" y="4989111"/>
            <a:chExt cx="449018" cy="449477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0B1C69E5-F4BE-494C-90B5-D955ED602AC4}"/>
                </a:ext>
              </a:extLst>
            </p:cNvPr>
            <p:cNvSpPr>
              <a:spLocks/>
            </p:cNvSpPr>
            <p:nvPr/>
          </p:nvSpPr>
          <p:spPr>
            <a:xfrm>
              <a:off x="9735445" y="4989111"/>
              <a:ext cx="449018" cy="449477"/>
            </a:xfrm>
            <a:prstGeom prst="ellipse">
              <a:avLst/>
            </a:prstGeom>
            <a:solidFill>
              <a:srgbClr val="2073B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682">
                <a:defRPr/>
              </a:pPr>
              <a:endParaRPr lang="hu-HU" sz="1632">
                <a:solidFill>
                  <a:srgbClr val="000000"/>
                </a:solidFill>
                <a:latin typeface="Open Sans"/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243F2531-886C-4B05-8370-4C33193E2425}"/>
                </a:ext>
              </a:extLst>
            </p:cNvPr>
            <p:cNvGrpSpPr/>
            <p:nvPr/>
          </p:nvGrpSpPr>
          <p:grpSpPr>
            <a:xfrm>
              <a:off x="9836185" y="5055877"/>
              <a:ext cx="247539" cy="315947"/>
              <a:chOff x="3173413" y="2319338"/>
              <a:chExt cx="557213" cy="711200"/>
            </a:xfrm>
            <a:solidFill>
              <a:schemeClr val="bg1"/>
            </a:solidFill>
          </p:grpSpPr>
          <p:sp>
            <p:nvSpPr>
              <p:cNvPr id="88" name="Freeform 27">
                <a:extLst>
                  <a:ext uri="{FF2B5EF4-FFF2-40B4-BE49-F238E27FC236}">
                    <a16:creationId xmlns:a16="http://schemas.microsoft.com/office/drawing/2014/main" id="{2BB0412C-B058-4CF3-8C21-CB8C7D3D85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49613" y="2470151"/>
                <a:ext cx="254000" cy="242888"/>
              </a:xfrm>
              <a:custGeom>
                <a:avLst/>
                <a:gdLst>
                  <a:gd name="T0" fmla="*/ 133 w 160"/>
                  <a:gd name="T1" fmla="*/ 51 h 153"/>
                  <a:gd name="T2" fmla="*/ 134 w 160"/>
                  <a:gd name="T3" fmla="*/ 22 h 153"/>
                  <a:gd name="T4" fmla="*/ 132 w 160"/>
                  <a:gd name="T5" fmla="*/ 16 h 153"/>
                  <a:gd name="T6" fmla="*/ 110 w 160"/>
                  <a:gd name="T7" fmla="*/ 1 h 153"/>
                  <a:gd name="T8" fmla="*/ 102 w 160"/>
                  <a:gd name="T9" fmla="*/ 1 h 153"/>
                  <a:gd name="T10" fmla="*/ 84 w 160"/>
                  <a:gd name="T11" fmla="*/ 17 h 153"/>
                  <a:gd name="T12" fmla="*/ 60 w 160"/>
                  <a:gd name="T13" fmla="*/ 2 h 153"/>
                  <a:gd name="T14" fmla="*/ 54 w 160"/>
                  <a:gd name="T15" fmla="*/ 0 h 153"/>
                  <a:gd name="T16" fmla="*/ 30 w 160"/>
                  <a:gd name="T17" fmla="*/ 14 h 153"/>
                  <a:gd name="T18" fmla="*/ 26 w 160"/>
                  <a:gd name="T19" fmla="*/ 19 h 153"/>
                  <a:gd name="T20" fmla="*/ 30 w 160"/>
                  <a:gd name="T21" fmla="*/ 44 h 153"/>
                  <a:gd name="T22" fmla="*/ 5 w 160"/>
                  <a:gd name="T23" fmla="*/ 57 h 153"/>
                  <a:gd name="T24" fmla="*/ 1 w 160"/>
                  <a:gd name="T25" fmla="*/ 62 h 153"/>
                  <a:gd name="T26" fmla="*/ 0 w 160"/>
                  <a:gd name="T27" fmla="*/ 88 h 153"/>
                  <a:gd name="T28" fmla="*/ 2 w 160"/>
                  <a:gd name="T29" fmla="*/ 95 h 153"/>
                  <a:gd name="T30" fmla="*/ 27 w 160"/>
                  <a:gd name="T31" fmla="*/ 104 h 153"/>
                  <a:gd name="T32" fmla="*/ 26 w 160"/>
                  <a:gd name="T33" fmla="*/ 132 h 153"/>
                  <a:gd name="T34" fmla="*/ 26 w 160"/>
                  <a:gd name="T35" fmla="*/ 136 h 153"/>
                  <a:gd name="T36" fmla="*/ 29 w 160"/>
                  <a:gd name="T37" fmla="*/ 140 h 153"/>
                  <a:gd name="T38" fmla="*/ 54 w 160"/>
                  <a:gd name="T39" fmla="*/ 153 h 153"/>
                  <a:gd name="T40" fmla="*/ 60 w 160"/>
                  <a:gd name="T41" fmla="*/ 151 h 153"/>
                  <a:gd name="T42" fmla="*/ 84 w 160"/>
                  <a:gd name="T43" fmla="*/ 137 h 153"/>
                  <a:gd name="T44" fmla="*/ 103 w 160"/>
                  <a:gd name="T45" fmla="*/ 153 h 153"/>
                  <a:gd name="T46" fmla="*/ 108 w 160"/>
                  <a:gd name="T47" fmla="*/ 153 h 153"/>
                  <a:gd name="T48" fmla="*/ 131 w 160"/>
                  <a:gd name="T49" fmla="*/ 140 h 153"/>
                  <a:gd name="T50" fmla="*/ 134 w 160"/>
                  <a:gd name="T51" fmla="*/ 136 h 153"/>
                  <a:gd name="T52" fmla="*/ 134 w 160"/>
                  <a:gd name="T53" fmla="*/ 132 h 153"/>
                  <a:gd name="T54" fmla="*/ 133 w 160"/>
                  <a:gd name="T55" fmla="*/ 104 h 153"/>
                  <a:gd name="T56" fmla="*/ 157 w 160"/>
                  <a:gd name="T57" fmla="*/ 95 h 153"/>
                  <a:gd name="T58" fmla="*/ 160 w 160"/>
                  <a:gd name="T59" fmla="*/ 88 h 153"/>
                  <a:gd name="T60" fmla="*/ 159 w 160"/>
                  <a:gd name="T61" fmla="*/ 62 h 153"/>
                  <a:gd name="T62" fmla="*/ 155 w 160"/>
                  <a:gd name="T63" fmla="*/ 57 h 153"/>
                  <a:gd name="T64" fmla="*/ 126 w 160"/>
                  <a:gd name="T65" fmla="*/ 90 h 153"/>
                  <a:gd name="T66" fmla="*/ 122 w 160"/>
                  <a:gd name="T67" fmla="*/ 93 h 153"/>
                  <a:gd name="T68" fmla="*/ 113 w 160"/>
                  <a:gd name="T69" fmla="*/ 108 h 153"/>
                  <a:gd name="T70" fmla="*/ 117 w 160"/>
                  <a:gd name="T71" fmla="*/ 129 h 153"/>
                  <a:gd name="T72" fmla="*/ 93 w 160"/>
                  <a:gd name="T73" fmla="*/ 123 h 153"/>
                  <a:gd name="T74" fmla="*/ 87 w 160"/>
                  <a:gd name="T75" fmla="*/ 121 h 153"/>
                  <a:gd name="T76" fmla="*/ 73 w 160"/>
                  <a:gd name="T77" fmla="*/ 121 h 153"/>
                  <a:gd name="T78" fmla="*/ 68 w 160"/>
                  <a:gd name="T79" fmla="*/ 123 h 153"/>
                  <a:gd name="T80" fmla="*/ 42 w 160"/>
                  <a:gd name="T81" fmla="*/ 129 h 153"/>
                  <a:gd name="T82" fmla="*/ 46 w 160"/>
                  <a:gd name="T83" fmla="*/ 108 h 153"/>
                  <a:gd name="T84" fmla="*/ 39 w 160"/>
                  <a:gd name="T85" fmla="*/ 93 h 153"/>
                  <a:gd name="T86" fmla="*/ 34 w 160"/>
                  <a:gd name="T87" fmla="*/ 90 h 153"/>
                  <a:gd name="T88" fmla="*/ 16 w 160"/>
                  <a:gd name="T89" fmla="*/ 70 h 153"/>
                  <a:gd name="T90" fmla="*/ 37 w 160"/>
                  <a:gd name="T91" fmla="*/ 64 h 153"/>
                  <a:gd name="T92" fmla="*/ 45 w 160"/>
                  <a:gd name="T93" fmla="*/ 50 h 153"/>
                  <a:gd name="T94" fmla="*/ 46 w 160"/>
                  <a:gd name="T95" fmla="*/ 44 h 153"/>
                  <a:gd name="T96" fmla="*/ 54 w 160"/>
                  <a:gd name="T97" fmla="*/ 19 h 153"/>
                  <a:gd name="T98" fmla="*/ 70 w 160"/>
                  <a:gd name="T99" fmla="*/ 33 h 153"/>
                  <a:gd name="T100" fmla="*/ 87 w 160"/>
                  <a:gd name="T101" fmla="*/ 34 h 153"/>
                  <a:gd name="T102" fmla="*/ 93 w 160"/>
                  <a:gd name="T103" fmla="*/ 31 h 153"/>
                  <a:gd name="T104" fmla="*/ 117 w 160"/>
                  <a:gd name="T105" fmla="*/ 25 h 153"/>
                  <a:gd name="T106" fmla="*/ 113 w 160"/>
                  <a:gd name="T107" fmla="*/ 46 h 153"/>
                  <a:gd name="T108" fmla="*/ 122 w 160"/>
                  <a:gd name="T109" fmla="*/ 60 h 153"/>
                  <a:gd name="T110" fmla="*/ 126 w 160"/>
                  <a:gd name="T111" fmla="*/ 65 h 153"/>
                  <a:gd name="T112" fmla="*/ 144 w 160"/>
                  <a:gd name="T113" fmla="*/ 8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0" h="153">
                    <a:moveTo>
                      <a:pt x="155" y="57"/>
                    </a:moveTo>
                    <a:lnTo>
                      <a:pt x="133" y="51"/>
                    </a:lnTo>
                    <a:lnTo>
                      <a:pt x="130" y="44"/>
                    </a:lnTo>
                    <a:lnTo>
                      <a:pt x="134" y="22"/>
                    </a:lnTo>
                    <a:lnTo>
                      <a:pt x="134" y="19"/>
                    </a:lnTo>
                    <a:lnTo>
                      <a:pt x="132" y="16"/>
                    </a:lnTo>
                    <a:lnTo>
                      <a:pt x="130" y="14"/>
                    </a:lnTo>
                    <a:lnTo>
                      <a:pt x="110" y="1"/>
                    </a:lnTo>
                    <a:lnTo>
                      <a:pt x="107" y="0"/>
                    </a:lnTo>
                    <a:lnTo>
                      <a:pt x="102" y="1"/>
                    </a:lnTo>
                    <a:lnTo>
                      <a:pt x="100" y="2"/>
                    </a:lnTo>
                    <a:lnTo>
                      <a:pt x="84" y="17"/>
                    </a:lnTo>
                    <a:lnTo>
                      <a:pt x="76" y="17"/>
                    </a:lnTo>
                    <a:lnTo>
                      <a:pt x="60" y="2"/>
                    </a:lnTo>
                    <a:lnTo>
                      <a:pt x="57" y="1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30" y="14"/>
                    </a:lnTo>
                    <a:lnTo>
                      <a:pt x="27" y="16"/>
                    </a:lnTo>
                    <a:lnTo>
                      <a:pt x="26" y="19"/>
                    </a:lnTo>
                    <a:lnTo>
                      <a:pt x="26" y="22"/>
                    </a:lnTo>
                    <a:lnTo>
                      <a:pt x="30" y="44"/>
                    </a:lnTo>
                    <a:lnTo>
                      <a:pt x="27" y="51"/>
                    </a:lnTo>
                    <a:lnTo>
                      <a:pt x="5" y="57"/>
                    </a:lnTo>
                    <a:lnTo>
                      <a:pt x="3" y="58"/>
                    </a:lnTo>
                    <a:lnTo>
                      <a:pt x="1" y="62"/>
                    </a:lnTo>
                    <a:lnTo>
                      <a:pt x="0" y="65"/>
                    </a:lnTo>
                    <a:lnTo>
                      <a:pt x="0" y="88"/>
                    </a:lnTo>
                    <a:lnTo>
                      <a:pt x="1" y="93"/>
                    </a:lnTo>
                    <a:lnTo>
                      <a:pt x="2" y="95"/>
                    </a:lnTo>
                    <a:lnTo>
                      <a:pt x="5" y="97"/>
                    </a:lnTo>
                    <a:lnTo>
                      <a:pt x="27" y="104"/>
                    </a:lnTo>
                    <a:lnTo>
                      <a:pt x="30" y="110"/>
                    </a:lnTo>
                    <a:lnTo>
                      <a:pt x="26" y="132"/>
                    </a:lnTo>
                    <a:lnTo>
                      <a:pt x="26" y="134"/>
                    </a:lnTo>
                    <a:lnTo>
                      <a:pt x="26" y="136"/>
                    </a:lnTo>
                    <a:lnTo>
                      <a:pt x="27" y="138"/>
                    </a:lnTo>
                    <a:lnTo>
                      <a:pt x="29" y="140"/>
                    </a:lnTo>
                    <a:lnTo>
                      <a:pt x="51" y="152"/>
                    </a:lnTo>
                    <a:lnTo>
                      <a:pt x="54" y="153"/>
                    </a:lnTo>
                    <a:lnTo>
                      <a:pt x="57" y="153"/>
                    </a:lnTo>
                    <a:lnTo>
                      <a:pt x="60" y="151"/>
                    </a:lnTo>
                    <a:lnTo>
                      <a:pt x="76" y="137"/>
                    </a:lnTo>
                    <a:lnTo>
                      <a:pt x="84" y="137"/>
                    </a:lnTo>
                    <a:lnTo>
                      <a:pt x="100" y="151"/>
                    </a:lnTo>
                    <a:lnTo>
                      <a:pt x="103" y="153"/>
                    </a:lnTo>
                    <a:lnTo>
                      <a:pt x="105" y="153"/>
                    </a:lnTo>
                    <a:lnTo>
                      <a:pt x="108" y="153"/>
                    </a:lnTo>
                    <a:lnTo>
                      <a:pt x="110" y="152"/>
                    </a:lnTo>
                    <a:lnTo>
                      <a:pt x="131" y="140"/>
                    </a:lnTo>
                    <a:lnTo>
                      <a:pt x="132" y="138"/>
                    </a:lnTo>
                    <a:lnTo>
                      <a:pt x="134" y="136"/>
                    </a:lnTo>
                    <a:lnTo>
                      <a:pt x="134" y="134"/>
                    </a:lnTo>
                    <a:lnTo>
                      <a:pt x="134" y="132"/>
                    </a:lnTo>
                    <a:lnTo>
                      <a:pt x="130" y="110"/>
                    </a:lnTo>
                    <a:lnTo>
                      <a:pt x="133" y="104"/>
                    </a:lnTo>
                    <a:lnTo>
                      <a:pt x="155" y="97"/>
                    </a:lnTo>
                    <a:lnTo>
                      <a:pt x="157" y="95"/>
                    </a:lnTo>
                    <a:lnTo>
                      <a:pt x="159" y="93"/>
                    </a:lnTo>
                    <a:lnTo>
                      <a:pt x="160" y="88"/>
                    </a:lnTo>
                    <a:lnTo>
                      <a:pt x="160" y="65"/>
                    </a:lnTo>
                    <a:lnTo>
                      <a:pt x="159" y="62"/>
                    </a:lnTo>
                    <a:lnTo>
                      <a:pt x="157" y="58"/>
                    </a:lnTo>
                    <a:lnTo>
                      <a:pt x="155" y="57"/>
                    </a:lnTo>
                    <a:close/>
                    <a:moveTo>
                      <a:pt x="144" y="83"/>
                    </a:moveTo>
                    <a:lnTo>
                      <a:pt x="126" y="90"/>
                    </a:lnTo>
                    <a:lnTo>
                      <a:pt x="123" y="91"/>
                    </a:lnTo>
                    <a:lnTo>
                      <a:pt x="122" y="93"/>
                    </a:lnTo>
                    <a:lnTo>
                      <a:pt x="114" y="105"/>
                    </a:lnTo>
                    <a:lnTo>
                      <a:pt x="113" y="108"/>
                    </a:lnTo>
                    <a:lnTo>
                      <a:pt x="114" y="110"/>
                    </a:lnTo>
                    <a:lnTo>
                      <a:pt x="117" y="129"/>
                    </a:lnTo>
                    <a:lnTo>
                      <a:pt x="107" y="136"/>
                    </a:lnTo>
                    <a:lnTo>
                      <a:pt x="93" y="123"/>
                    </a:lnTo>
                    <a:lnTo>
                      <a:pt x="89" y="121"/>
                    </a:lnTo>
                    <a:lnTo>
                      <a:pt x="87" y="121"/>
                    </a:lnTo>
                    <a:lnTo>
                      <a:pt x="73" y="121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68" y="123"/>
                    </a:lnTo>
                    <a:lnTo>
                      <a:pt x="54" y="136"/>
                    </a:lnTo>
                    <a:lnTo>
                      <a:pt x="42" y="129"/>
                    </a:lnTo>
                    <a:lnTo>
                      <a:pt x="46" y="110"/>
                    </a:lnTo>
                    <a:lnTo>
                      <a:pt x="46" y="108"/>
                    </a:lnTo>
                    <a:lnTo>
                      <a:pt x="45" y="105"/>
                    </a:lnTo>
                    <a:lnTo>
                      <a:pt x="39" y="93"/>
                    </a:lnTo>
                    <a:lnTo>
                      <a:pt x="37" y="91"/>
                    </a:lnTo>
                    <a:lnTo>
                      <a:pt x="34" y="90"/>
                    </a:lnTo>
                    <a:lnTo>
                      <a:pt x="16" y="83"/>
                    </a:lnTo>
                    <a:lnTo>
                      <a:pt x="16" y="70"/>
                    </a:lnTo>
                    <a:lnTo>
                      <a:pt x="34" y="65"/>
                    </a:lnTo>
                    <a:lnTo>
                      <a:pt x="37" y="64"/>
                    </a:lnTo>
                    <a:lnTo>
                      <a:pt x="39" y="60"/>
                    </a:lnTo>
                    <a:lnTo>
                      <a:pt x="45" y="50"/>
                    </a:lnTo>
                    <a:lnTo>
                      <a:pt x="46" y="46"/>
                    </a:lnTo>
                    <a:lnTo>
                      <a:pt x="46" y="44"/>
                    </a:lnTo>
                    <a:lnTo>
                      <a:pt x="43" y="25"/>
                    </a:lnTo>
                    <a:lnTo>
                      <a:pt x="54" y="19"/>
                    </a:lnTo>
                    <a:lnTo>
                      <a:pt x="68" y="31"/>
                    </a:lnTo>
                    <a:lnTo>
                      <a:pt x="70" y="33"/>
                    </a:lnTo>
                    <a:lnTo>
                      <a:pt x="73" y="34"/>
                    </a:lnTo>
                    <a:lnTo>
                      <a:pt x="87" y="34"/>
                    </a:lnTo>
                    <a:lnTo>
                      <a:pt x="89" y="33"/>
                    </a:lnTo>
                    <a:lnTo>
                      <a:pt x="93" y="31"/>
                    </a:lnTo>
                    <a:lnTo>
                      <a:pt x="107" y="19"/>
                    </a:lnTo>
                    <a:lnTo>
                      <a:pt x="117" y="25"/>
                    </a:lnTo>
                    <a:lnTo>
                      <a:pt x="113" y="44"/>
                    </a:lnTo>
                    <a:lnTo>
                      <a:pt x="113" y="46"/>
                    </a:lnTo>
                    <a:lnTo>
                      <a:pt x="114" y="50"/>
                    </a:lnTo>
                    <a:lnTo>
                      <a:pt x="122" y="60"/>
                    </a:lnTo>
                    <a:lnTo>
                      <a:pt x="123" y="64"/>
                    </a:lnTo>
                    <a:lnTo>
                      <a:pt x="126" y="65"/>
                    </a:lnTo>
                    <a:lnTo>
                      <a:pt x="144" y="70"/>
                    </a:lnTo>
                    <a:lnTo>
                      <a:pt x="144" y="8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89" name="Freeform 28">
                <a:extLst>
                  <a:ext uri="{FF2B5EF4-FFF2-40B4-BE49-F238E27FC236}">
                    <a16:creationId xmlns:a16="http://schemas.microsoft.com/office/drawing/2014/main" id="{3FCCD415-A2EC-4B40-A985-44462538B8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70276" y="2401888"/>
                <a:ext cx="168275" cy="177800"/>
              </a:xfrm>
              <a:custGeom>
                <a:avLst/>
                <a:gdLst>
                  <a:gd name="T0" fmla="*/ 104 w 106"/>
                  <a:gd name="T1" fmla="*/ 43 h 112"/>
                  <a:gd name="T2" fmla="*/ 106 w 106"/>
                  <a:gd name="T3" fmla="*/ 37 h 112"/>
                  <a:gd name="T4" fmla="*/ 98 w 106"/>
                  <a:gd name="T5" fmla="*/ 22 h 112"/>
                  <a:gd name="T6" fmla="*/ 95 w 106"/>
                  <a:gd name="T7" fmla="*/ 18 h 112"/>
                  <a:gd name="T8" fmla="*/ 89 w 106"/>
                  <a:gd name="T9" fmla="*/ 18 h 112"/>
                  <a:gd name="T10" fmla="*/ 69 w 106"/>
                  <a:gd name="T11" fmla="*/ 6 h 112"/>
                  <a:gd name="T12" fmla="*/ 63 w 106"/>
                  <a:gd name="T13" fmla="*/ 1 h 112"/>
                  <a:gd name="T14" fmla="*/ 46 w 106"/>
                  <a:gd name="T15" fmla="*/ 0 h 112"/>
                  <a:gd name="T16" fmla="*/ 41 w 106"/>
                  <a:gd name="T17" fmla="*/ 2 h 112"/>
                  <a:gd name="T18" fmla="*/ 33 w 106"/>
                  <a:gd name="T19" fmla="*/ 22 h 112"/>
                  <a:gd name="T20" fmla="*/ 15 w 106"/>
                  <a:gd name="T21" fmla="*/ 17 h 112"/>
                  <a:gd name="T22" fmla="*/ 9 w 106"/>
                  <a:gd name="T23" fmla="*/ 20 h 112"/>
                  <a:gd name="T24" fmla="*/ 1 w 106"/>
                  <a:gd name="T25" fmla="*/ 34 h 112"/>
                  <a:gd name="T26" fmla="*/ 1 w 106"/>
                  <a:gd name="T27" fmla="*/ 40 h 112"/>
                  <a:gd name="T28" fmla="*/ 14 w 106"/>
                  <a:gd name="T29" fmla="*/ 56 h 112"/>
                  <a:gd name="T30" fmla="*/ 1 w 106"/>
                  <a:gd name="T31" fmla="*/ 71 h 112"/>
                  <a:gd name="T32" fmla="*/ 1 w 106"/>
                  <a:gd name="T33" fmla="*/ 78 h 112"/>
                  <a:gd name="T34" fmla="*/ 11 w 106"/>
                  <a:gd name="T35" fmla="*/ 93 h 112"/>
                  <a:gd name="T36" fmla="*/ 17 w 106"/>
                  <a:gd name="T37" fmla="*/ 94 h 112"/>
                  <a:gd name="T38" fmla="*/ 39 w 106"/>
                  <a:gd name="T39" fmla="*/ 107 h 112"/>
                  <a:gd name="T40" fmla="*/ 43 w 106"/>
                  <a:gd name="T41" fmla="*/ 111 h 112"/>
                  <a:gd name="T42" fmla="*/ 60 w 106"/>
                  <a:gd name="T43" fmla="*/ 112 h 112"/>
                  <a:gd name="T44" fmla="*/ 67 w 106"/>
                  <a:gd name="T45" fmla="*/ 109 h 112"/>
                  <a:gd name="T46" fmla="*/ 73 w 106"/>
                  <a:gd name="T47" fmla="*/ 91 h 112"/>
                  <a:gd name="T48" fmla="*/ 93 w 106"/>
                  <a:gd name="T49" fmla="*/ 94 h 112"/>
                  <a:gd name="T50" fmla="*/ 99 w 106"/>
                  <a:gd name="T51" fmla="*/ 89 h 112"/>
                  <a:gd name="T52" fmla="*/ 106 w 106"/>
                  <a:gd name="T53" fmla="*/ 74 h 112"/>
                  <a:gd name="T54" fmla="*/ 104 w 106"/>
                  <a:gd name="T55" fmla="*/ 68 h 112"/>
                  <a:gd name="T56" fmla="*/ 87 w 106"/>
                  <a:gd name="T57" fmla="*/ 77 h 112"/>
                  <a:gd name="T58" fmla="*/ 69 w 106"/>
                  <a:gd name="T59" fmla="*/ 73 h 112"/>
                  <a:gd name="T60" fmla="*/ 63 w 106"/>
                  <a:gd name="T61" fmla="*/ 77 h 112"/>
                  <a:gd name="T62" fmla="*/ 59 w 106"/>
                  <a:gd name="T63" fmla="*/ 81 h 112"/>
                  <a:gd name="T64" fmla="*/ 53 w 106"/>
                  <a:gd name="T65" fmla="*/ 96 h 112"/>
                  <a:gd name="T66" fmla="*/ 46 w 106"/>
                  <a:gd name="T67" fmla="*/ 79 h 112"/>
                  <a:gd name="T68" fmla="*/ 41 w 106"/>
                  <a:gd name="T69" fmla="*/ 74 h 112"/>
                  <a:gd name="T70" fmla="*/ 35 w 106"/>
                  <a:gd name="T71" fmla="*/ 73 h 112"/>
                  <a:gd name="T72" fmla="*/ 18 w 106"/>
                  <a:gd name="T73" fmla="*/ 74 h 112"/>
                  <a:gd name="T74" fmla="*/ 30 w 106"/>
                  <a:gd name="T75" fmla="*/ 60 h 112"/>
                  <a:gd name="T76" fmla="*/ 31 w 106"/>
                  <a:gd name="T77" fmla="*/ 54 h 112"/>
                  <a:gd name="T78" fmla="*/ 29 w 106"/>
                  <a:gd name="T79" fmla="*/ 49 h 112"/>
                  <a:gd name="T80" fmla="*/ 19 w 106"/>
                  <a:gd name="T81" fmla="*/ 35 h 112"/>
                  <a:gd name="T82" fmla="*/ 37 w 106"/>
                  <a:gd name="T83" fmla="*/ 38 h 112"/>
                  <a:gd name="T84" fmla="*/ 44 w 106"/>
                  <a:gd name="T85" fmla="*/ 36 h 112"/>
                  <a:gd name="T86" fmla="*/ 47 w 106"/>
                  <a:gd name="T87" fmla="*/ 31 h 112"/>
                  <a:gd name="T88" fmla="*/ 55 w 106"/>
                  <a:gd name="T89" fmla="*/ 16 h 112"/>
                  <a:gd name="T90" fmla="*/ 61 w 106"/>
                  <a:gd name="T91" fmla="*/ 34 h 112"/>
                  <a:gd name="T92" fmla="*/ 67 w 106"/>
                  <a:gd name="T93" fmla="*/ 38 h 112"/>
                  <a:gd name="T94" fmla="*/ 72 w 106"/>
                  <a:gd name="T95" fmla="*/ 38 h 112"/>
                  <a:gd name="T96" fmla="*/ 88 w 106"/>
                  <a:gd name="T97" fmla="*/ 37 h 112"/>
                  <a:gd name="T98" fmla="*/ 76 w 106"/>
                  <a:gd name="T99" fmla="*/ 52 h 112"/>
                  <a:gd name="T100" fmla="*/ 76 w 106"/>
                  <a:gd name="T101" fmla="*/ 58 h 112"/>
                  <a:gd name="T102" fmla="*/ 78 w 106"/>
                  <a:gd name="T103" fmla="*/ 64 h 112"/>
                  <a:gd name="T104" fmla="*/ 87 w 106"/>
                  <a:gd name="T105" fmla="*/ 7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" h="112">
                    <a:moveTo>
                      <a:pt x="93" y="56"/>
                    </a:moveTo>
                    <a:lnTo>
                      <a:pt x="104" y="43"/>
                    </a:lnTo>
                    <a:lnTo>
                      <a:pt x="106" y="40"/>
                    </a:lnTo>
                    <a:lnTo>
                      <a:pt x="106" y="37"/>
                    </a:lnTo>
                    <a:lnTo>
                      <a:pt x="105" y="34"/>
                    </a:lnTo>
                    <a:lnTo>
                      <a:pt x="98" y="22"/>
                    </a:lnTo>
                    <a:lnTo>
                      <a:pt x="97" y="20"/>
                    </a:lnTo>
                    <a:lnTo>
                      <a:pt x="95" y="18"/>
                    </a:lnTo>
                    <a:lnTo>
                      <a:pt x="92" y="17"/>
                    </a:lnTo>
                    <a:lnTo>
                      <a:pt x="89" y="18"/>
                    </a:lnTo>
                    <a:lnTo>
                      <a:pt x="73" y="22"/>
                    </a:lnTo>
                    <a:lnTo>
                      <a:pt x="69" y="6"/>
                    </a:lnTo>
                    <a:lnTo>
                      <a:pt x="67" y="2"/>
                    </a:lnTo>
                    <a:lnTo>
                      <a:pt x="63" y="1"/>
                    </a:lnTo>
                    <a:lnTo>
                      <a:pt x="60" y="0"/>
                    </a:lnTo>
                    <a:lnTo>
                      <a:pt x="46" y="0"/>
                    </a:lnTo>
                    <a:lnTo>
                      <a:pt x="43" y="1"/>
                    </a:lnTo>
                    <a:lnTo>
                      <a:pt x="41" y="2"/>
                    </a:lnTo>
                    <a:lnTo>
                      <a:pt x="39" y="6"/>
                    </a:lnTo>
                    <a:lnTo>
                      <a:pt x="33" y="22"/>
                    </a:lnTo>
                    <a:lnTo>
                      <a:pt x="17" y="18"/>
                    </a:lnTo>
                    <a:lnTo>
                      <a:pt x="15" y="17"/>
                    </a:lnTo>
                    <a:lnTo>
                      <a:pt x="12" y="18"/>
                    </a:lnTo>
                    <a:lnTo>
                      <a:pt x="9" y="20"/>
                    </a:lnTo>
                    <a:lnTo>
                      <a:pt x="8" y="22"/>
                    </a:lnTo>
                    <a:lnTo>
                      <a:pt x="1" y="34"/>
                    </a:lnTo>
                    <a:lnTo>
                      <a:pt x="0" y="37"/>
                    </a:lnTo>
                    <a:lnTo>
                      <a:pt x="1" y="40"/>
                    </a:lnTo>
                    <a:lnTo>
                      <a:pt x="2" y="43"/>
                    </a:lnTo>
                    <a:lnTo>
                      <a:pt x="14" y="56"/>
                    </a:lnTo>
                    <a:lnTo>
                      <a:pt x="2" y="68"/>
                    </a:lnTo>
                    <a:lnTo>
                      <a:pt x="1" y="71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8" y="89"/>
                    </a:lnTo>
                    <a:lnTo>
                      <a:pt x="11" y="93"/>
                    </a:lnTo>
                    <a:lnTo>
                      <a:pt x="14" y="94"/>
                    </a:lnTo>
                    <a:lnTo>
                      <a:pt x="17" y="94"/>
                    </a:lnTo>
                    <a:lnTo>
                      <a:pt x="33" y="91"/>
                    </a:lnTo>
                    <a:lnTo>
                      <a:pt x="39" y="107"/>
                    </a:lnTo>
                    <a:lnTo>
                      <a:pt x="41" y="110"/>
                    </a:lnTo>
                    <a:lnTo>
                      <a:pt x="43" y="111"/>
                    </a:lnTo>
                    <a:lnTo>
                      <a:pt x="46" y="112"/>
                    </a:lnTo>
                    <a:lnTo>
                      <a:pt x="60" y="112"/>
                    </a:lnTo>
                    <a:lnTo>
                      <a:pt x="63" y="111"/>
                    </a:lnTo>
                    <a:lnTo>
                      <a:pt x="67" y="109"/>
                    </a:lnTo>
                    <a:lnTo>
                      <a:pt x="69" y="107"/>
                    </a:lnTo>
                    <a:lnTo>
                      <a:pt x="73" y="91"/>
                    </a:lnTo>
                    <a:lnTo>
                      <a:pt x="90" y="94"/>
                    </a:lnTo>
                    <a:lnTo>
                      <a:pt x="93" y="94"/>
                    </a:lnTo>
                    <a:lnTo>
                      <a:pt x="96" y="93"/>
                    </a:lnTo>
                    <a:lnTo>
                      <a:pt x="99" y="89"/>
                    </a:lnTo>
                    <a:lnTo>
                      <a:pt x="105" y="78"/>
                    </a:lnTo>
                    <a:lnTo>
                      <a:pt x="106" y="74"/>
                    </a:lnTo>
                    <a:lnTo>
                      <a:pt x="106" y="71"/>
                    </a:lnTo>
                    <a:lnTo>
                      <a:pt x="104" y="68"/>
                    </a:lnTo>
                    <a:lnTo>
                      <a:pt x="93" y="56"/>
                    </a:lnTo>
                    <a:close/>
                    <a:moveTo>
                      <a:pt x="87" y="77"/>
                    </a:moveTo>
                    <a:lnTo>
                      <a:pt x="72" y="73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3" y="77"/>
                    </a:lnTo>
                    <a:lnTo>
                      <a:pt x="61" y="79"/>
                    </a:lnTo>
                    <a:lnTo>
                      <a:pt x="59" y="81"/>
                    </a:lnTo>
                    <a:lnTo>
                      <a:pt x="55" y="96"/>
                    </a:lnTo>
                    <a:lnTo>
                      <a:pt x="53" y="96"/>
                    </a:lnTo>
                    <a:lnTo>
                      <a:pt x="47" y="81"/>
                    </a:lnTo>
                    <a:lnTo>
                      <a:pt x="46" y="79"/>
                    </a:lnTo>
                    <a:lnTo>
                      <a:pt x="44" y="77"/>
                    </a:lnTo>
                    <a:lnTo>
                      <a:pt x="41" y="74"/>
                    </a:lnTo>
                    <a:lnTo>
                      <a:pt x="37" y="73"/>
                    </a:lnTo>
                    <a:lnTo>
                      <a:pt x="35" y="73"/>
                    </a:lnTo>
                    <a:lnTo>
                      <a:pt x="19" y="77"/>
                    </a:lnTo>
                    <a:lnTo>
                      <a:pt x="18" y="74"/>
                    </a:lnTo>
                    <a:lnTo>
                      <a:pt x="29" y="64"/>
                    </a:lnTo>
                    <a:lnTo>
                      <a:pt x="30" y="60"/>
                    </a:lnTo>
                    <a:lnTo>
                      <a:pt x="31" y="58"/>
                    </a:lnTo>
                    <a:lnTo>
                      <a:pt x="31" y="54"/>
                    </a:lnTo>
                    <a:lnTo>
                      <a:pt x="30" y="52"/>
                    </a:lnTo>
                    <a:lnTo>
                      <a:pt x="29" y="49"/>
                    </a:lnTo>
                    <a:lnTo>
                      <a:pt x="18" y="37"/>
                    </a:lnTo>
                    <a:lnTo>
                      <a:pt x="19" y="35"/>
                    </a:lnTo>
                    <a:lnTo>
                      <a:pt x="34" y="38"/>
                    </a:lnTo>
                    <a:lnTo>
                      <a:pt x="37" y="38"/>
                    </a:lnTo>
                    <a:lnTo>
                      <a:pt x="41" y="38"/>
                    </a:lnTo>
                    <a:lnTo>
                      <a:pt x="44" y="36"/>
                    </a:lnTo>
                    <a:lnTo>
                      <a:pt x="46" y="34"/>
                    </a:lnTo>
                    <a:lnTo>
                      <a:pt x="47" y="31"/>
                    </a:lnTo>
                    <a:lnTo>
                      <a:pt x="53" y="16"/>
                    </a:lnTo>
                    <a:lnTo>
                      <a:pt x="55" y="16"/>
                    </a:lnTo>
                    <a:lnTo>
                      <a:pt x="59" y="31"/>
                    </a:lnTo>
                    <a:lnTo>
                      <a:pt x="61" y="34"/>
                    </a:lnTo>
                    <a:lnTo>
                      <a:pt x="63" y="36"/>
                    </a:lnTo>
                    <a:lnTo>
                      <a:pt x="67" y="38"/>
                    </a:lnTo>
                    <a:lnTo>
                      <a:pt x="69" y="38"/>
                    </a:lnTo>
                    <a:lnTo>
                      <a:pt x="72" y="38"/>
                    </a:lnTo>
                    <a:lnTo>
                      <a:pt x="87" y="35"/>
                    </a:lnTo>
                    <a:lnTo>
                      <a:pt x="88" y="37"/>
                    </a:lnTo>
                    <a:lnTo>
                      <a:pt x="78" y="49"/>
                    </a:lnTo>
                    <a:lnTo>
                      <a:pt x="76" y="52"/>
                    </a:lnTo>
                    <a:lnTo>
                      <a:pt x="76" y="54"/>
                    </a:lnTo>
                    <a:lnTo>
                      <a:pt x="76" y="58"/>
                    </a:lnTo>
                    <a:lnTo>
                      <a:pt x="76" y="60"/>
                    </a:lnTo>
                    <a:lnTo>
                      <a:pt x="78" y="64"/>
                    </a:lnTo>
                    <a:lnTo>
                      <a:pt x="89" y="74"/>
                    </a:lnTo>
                    <a:lnTo>
                      <a:pt x="87" y="7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90" name="Freeform 29">
                <a:extLst>
                  <a:ext uri="{FF2B5EF4-FFF2-40B4-BE49-F238E27FC236}">
                    <a16:creationId xmlns:a16="http://schemas.microsoft.com/office/drawing/2014/main" id="{12FA01EF-8018-4952-965A-83B538715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1713" y="2478088"/>
                <a:ext cx="25400" cy="25400"/>
              </a:xfrm>
              <a:custGeom>
                <a:avLst/>
                <a:gdLst>
                  <a:gd name="T0" fmla="*/ 8 w 16"/>
                  <a:gd name="T1" fmla="*/ 0 h 16"/>
                  <a:gd name="T2" fmla="*/ 5 w 16"/>
                  <a:gd name="T3" fmla="*/ 1 h 16"/>
                  <a:gd name="T4" fmla="*/ 2 w 16"/>
                  <a:gd name="T5" fmla="*/ 3 h 16"/>
                  <a:gd name="T6" fmla="*/ 1 w 16"/>
                  <a:gd name="T7" fmla="*/ 5 h 16"/>
                  <a:gd name="T8" fmla="*/ 0 w 16"/>
                  <a:gd name="T9" fmla="*/ 8 h 16"/>
                  <a:gd name="T10" fmla="*/ 1 w 16"/>
                  <a:gd name="T11" fmla="*/ 11 h 16"/>
                  <a:gd name="T12" fmla="*/ 2 w 16"/>
                  <a:gd name="T13" fmla="*/ 14 h 16"/>
                  <a:gd name="T14" fmla="*/ 5 w 16"/>
                  <a:gd name="T15" fmla="*/ 16 h 16"/>
                  <a:gd name="T16" fmla="*/ 8 w 16"/>
                  <a:gd name="T17" fmla="*/ 16 h 16"/>
                  <a:gd name="T18" fmla="*/ 11 w 16"/>
                  <a:gd name="T19" fmla="*/ 16 h 16"/>
                  <a:gd name="T20" fmla="*/ 14 w 16"/>
                  <a:gd name="T21" fmla="*/ 14 h 16"/>
                  <a:gd name="T22" fmla="*/ 15 w 16"/>
                  <a:gd name="T23" fmla="*/ 11 h 16"/>
                  <a:gd name="T24" fmla="*/ 16 w 16"/>
                  <a:gd name="T25" fmla="*/ 8 h 16"/>
                  <a:gd name="T26" fmla="*/ 15 w 16"/>
                  <a:gd name="T27" fmla="*/ 5 h 16"/>
                  <a:gd name="T28" fmla="*/ 14 w 16"/>
                  <a:gd name="T29" fmla="*/ 3 h 16"/>
                  <a:gd name="T30" fmla="*/ 11 w 16"/>
                  <a:gd name="T31" fmla="*/ 1 h 16"/>
                  <a:gd name="T32" fmla="*/ 8 w 16"/>
                  <a:gd name="T3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5" y="1"/>
                    </a:lnTo>
                    <a:lnTo>
                      <a:pt x="2" y="3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11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8" y="16"/>
                    </a:lnTo>
                    <a:lnTo>
                      <a:pt x="11" y="16"/>
                    </a:lnTo>
                    <a:lnTo>
                      <a:pt x="14" y="14"/>
                    </a:lnTo>
                    <a:lnTo>
                      <a:pt x="15" y="11"/>
                    </a:lnTo>
                    <a:lnTo>
                      <a:pt x="16" y="8"/>
                    </a:lnTo>
                    <a:lnTo>
                      <a:pt x="15" y="5"/>
                    </a:lnTo>
                    <a:lnTo>
                      <a:pt x="14" y="3"/>
                    </a:lnTo>
                    <a:lnTo>
                      <a:pt x="11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93" name="Freeform 30">
                <a:extLst>
                  <a:ext uri="{FF2B5EF4-FFF2-40B4-BE49-F238E27FC236}">
                    <a16:creationId xmlns:a16="http://schemas.microsoft.com/office/drawing/2014/main" id="{F51D2265-E274-400C-AB61-AA8DA20FB4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25813" y="2540001"/>
                <a:ext cx="101600" cy="103188"/>
              </a:xfrm>
              <a:custGeom>
                <a:avLst/>
                <a:gdLst>
                  <a:gd name="T0" fmla="*/ 32 w 64"/>
                  <a:gd name="T1" fmla="*/ 0 h 65"/>
                  <a:gd name="T2" fmla="*/ 20 w 64"/>
                  <a:gd name="T3" fmla="*/ 4 h 65"/>
                  <a:gd name="T4" fmla="*/ 9 w 64"/>
                  <a:gd name="T5" fmla="*/ 10 h 65"/>
                  <a:gd name="T6" fmla="*/ 3 w 64"/>
                  <a:gd name="T7" fmla="*/ 20 h 65"/>
                  <a:gd name="T8" fmla="*/ 0 w 64"/>
                  <a:gd name="T9" fmla="*/ 33 h 65"/>
                  <a:gd name="T10" fmla="*/ 3 w 64"/>
                  <a:gd name="T11" fmla="*/ 44 h 65"/>
                  <a:gd name="T12" fmla="*/ 9 w 64"/>
                  <a:gd name="T13" fmla="*/ 55 h 65"/>
                  <a:gd name="T14" fmla="*/ 20 w 64"/>
                  <a:gd name="T15" fmla="*/ 62 h 65"/>
                  <a:gd name="T16" fmla="*/ 32 w 64"/>
                  <a:gd name="T17" fmla="*/ 65 h 65"/>
                  <a:gd name="T18" fmla="*/ 45 w 64"/>
                  <a:gd name="T19" fmla="*/ 62 h 65"/>
                  <a:gd name="T20" fmla="*/ 54 w 64"/>
                  <a:gd name="T21" fmla="*/ 55 h 65"/>
                  <a:gd name="T22" fmla="*/ 62 w 64"/>
                  <a:gd name="T23" fmla="*/ 44 h 65"/>
                  <a:gd name="T24" fmla="*/ 64 w 64"/>
                  <a:gd name="T25" fmla="*/ 33 h 65"/>
                  <a:gd name="T26" fmla="*/ 62 w 64"/>
                  <a:gd name="T27" fmla="*/ 20 h 65"/>
                  <a:gd name="T28" fmla="*/ 54 w 64"/>
                  <a:gd name="T29" fmla="*/ 10 h 65"/>
                  <a:gd name="T30" fmla="*/ 45 w 64"/>
                  <a:gd name="T31" fmla="*/ 4 h 65"/>
                  <a:gd name="T32" fmla="*/ 32 w 64"/>
                  <a:gd name="T33" fmla="*/ 0 h 65"/>
                  <a:gd name="T34" fmla="*/ 32 w 64"/>
                  <a:gd name="T35" fmla="*/ 49 h 65"/>
                  <a:gd name="T36" fmla="*/ 27 w 64"/>
                  <a:gd name="T37" fmla="*/ 48 h 65"/>
                  <a:gd name="T38" fmla="*/ 23 w 64"/>
                  <a:gd name="T39" fmla="*/ 46 h 65"/>
                  <a:gd name="T40" fmla="*/ 19 w 64"/>
                  <a:gd name="T41" fmla="*/ 42 h 65"/>
                  <a:gd name="T42" fmla="*/ 17 w 64"/>
                  <a:gd name="T43" fmla="*/ 38 h 65"/>
                  <a:gd name="T44" fmla="*/ 17 w 64"/>
                  <a:gd name="T45" fmla="*/ 33 h 65"/>
                  <a:gd name="T46" fmla="*/ 17 w 64"/>
                  <a:gd name="T47" fmla="*/ 27 h 65"/>
                  <a:gd name="T48" fmla="*/ 19 w 64"/>
                  <a:gd name="T49" fmla="*/ 23 h 65"/>
                  <a:gd name="T50" fmla="*/ 23 w 64"/>
                  <a:gd name="T51" fmla="*/ 20 h 65"/>
                  <a:gd name="T52" fmla="*/ 27 w 64"/>
                  <a:gd name="T53" fmla="*/ 18 h 65"/>
                  <a:gd name="T54" fmla="*/ 32 w 64"/>
                  <a:gd name="T55" fmla="*/ 16 h 65"/>
                  <a:gd name="T56" fmla="*/ 37 w 64"/>
                  <a:gd name="T57" fmla="*/ 18 h 65"/>
                  <a:gd name="T58" fmla="*/ 41 w 64"/>
                  <a:gd name="T59" fmla="*/ 20 h 65"/>
                  <a:gd name="T60" fmla="*/ 45 w 64"/>
                  <a:gd name="T61" fmla="*/ 23 h 65"/>
                  <a:gd name="T62" fmla="*/ 47 w 64"/>
                  <a:gd name="T63" fmla="*/ 27 h 65"/>
                  <a:gd name="T64" fmla="*/ 48 w 64"/>
                  <a:gd name="T65" fmla="*/ 33 h 65"/>
                  <a:gd name="T66" fmla="*/ 47 w 64"/>
                  <a:gd name="T67" fmla="*/ 38 h 65"/>
                  <a:gd name="T68" fmla="*/ 45 w 64"/>
                  <a:gd name="T69" fmla="*/ 42 h 65"/>
                  <a:gd name="T70" fmla="*/ 41 w 64"/>
                  <a:gd name="T71" fmla="*/ 46 h 65"/>
                  <a:gd name="T72" fmla="*/ 37 w 64"/>
                  <a:gd name="T73" fmla="*/ 48 h 65"/>
                  <a:gd name="T74" fmla="*/ 32 w 64"/>
                  <a:gd name="T75" fmla="*/ 4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4" h="65">
                    <a:moveTo>
                      <a:pt x="32" y="0"/>
                    </a:moveTo>
                    <a:lnTo>
                      <a:pt x="20" y="4"/>
                    </a:lnTo>
                    <a:lnTo>
                      <a:pt x="9" y="10"/>
                    </a:lnTo>
                    <a:lnTo>
                      <a:pt x="3" y="20"/>
                    </a:lnTo>
                    <a:lnTo>
                      <a:pt x="0" y="33"/>
                    </a:lnTo>
                    <a:lnTo>
                      <a:pt x="3" y="44"/>
                    </a:lnTo>
                    <a:lnTo>
                      <a:pt x="9" y="55"/>
                    </a:lnTo>
                    <a:lnTo>
                      <a:pt x="20" y="62"/>
                    </a:lnTo>
                    <a:lnTo>
                      <a:pt x="32" y="65"/>
                    </a:lnTo>
                    <a:lnTo>
                      <a:pt x="45" y="62"/>
                    </a:lnTo>
                    <a:lnTo>
                      <a:pt x="54" y="55"/>
                    </a:lnTo>
                    <a:lnTo>
                      <a:pt x="62" y="44"/>
                    </a:lnTo>
                    <a:lnTo>
                      <a:pt x="64" y="33"/>
                    </a:lnTo>
                    <a:lnTo>
                      <a:pt x="62" y="20"/>
                    </a:lnTo>
                    <a:lnTo>
                      <a:pt x="54" y="10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  <a:moveTo>
                      <a:pt x="32" y="49"/>
                    </a:moveTo>
                    <a:lnTo>
                      <a:pt x="27" y="48"/>
                    </a:lnTo>
                    <a:lnTo>
                      <a:pt x="23" y="46"/>
                    </a:lnTo>
                    <a:lnTo>
                      <a:pt x="19" y="42"/>
                    </a:lnTo>
                    <a:lnTo>
                      <a:pt x="17" y="38"/>
                    </a:lnTo>
                    <a:lnTo>
                      <a:pt x="17" y="33"/>
                    </a:lnTo>
                    <a:lnTo>
                      <a:pt x="17" y="27"/>
                    </a:lnTo>
                    <a:lnTo>
                      <a:pt x="19" y="23"/>
                    </a:lnTo>
                    <a:lnTo>
                      <a:pt x="23" y="20"/>
                    </a:lnTo>
                    <a:lnTo>
                      <a:pt x="27" y="18"/>
                    </a:lnTo>
                    <a:lnTo>
                      <a:pt x="32" y="16"/>
                    </a:lnTo>
                    <a:lnTo>
                      <a:pt x="37" y="18"/>
                    </a:lnTo>
                    <a:lnTo>
                      <a:pt x="41" y="20"/>
                    </a:lnTo>
                    <a:lnTo>
                      <a:pt x="45" y="23"/>
                    </a:lnTo>
                    <a:lnTo>
                      <a:pt x="47" y="27"/>
                    </a:lnTo>
                    <a:lnTo>
                      <a:pt x="48" y="33"/>
                    </a:lnTo>
                    <a:lnTo>
                      <a:pt x="47" y="38"/>
                    </a:lnTo>
                    <a:lnTo>
                      <a:pt x="45" y="42"/>
                    </a:lnTo>
                    <a:lnTo>
                      <a:pt x="41" y="46"/>
                    </a:lnTo>
                    <a:lnTo>
                      <a:pt x="37" y="48"/>
                    </a:lnTo>
                    <a:lnTo>
                      <a:pt x="32" y="4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112" name="Freeform 31">
                <a:extLst>
                  <a:ext uri="{FF2B5EF4-FFF2-40B4-BE49-F238E27FC236}">
                    <a16:creationId xmlns:a16="http://schemas.microsoft.com/office/drawing/2014/main" id="{596B069C-70DB-48BD-B4FD-31D9EC75CC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73413" y="2319338"/>
                <a:ext cx="557213" cy="711200"/>
              </a:xfrm>
              <a:custGeom>
                <a:avLst/>
                <a:gdLst>
                  <a:gd name="T0" fmla="*/ 340 w 351"/>
                  <a:gd name="T1" fmla="*/ 174 h 448"/>
                  <a:gd name="T2" fmla="*/ 341 w 351"/>
                  <a:gd name="T3" fmla="*/ 129 h 448"/>
                  <a:gd name="T4" fmla="*/ 331 w 351"/>
                  <a:gd name="T5" fmla="*/ 67 h 448"/>
                  <a:gd name="T6" fmla="*/ 287 w 351"/>
                  <a:gd name="T7" fmla="*/ 23 h 448"/>
                  <a:gd name="T8" fmla="*/ 208 w 351"/>
                  <a:gd name="T9" fmla="*/ 2 h 448"/>
                  <a:gd name="T10" fmla="*/ 113 w 351"/>
                  <a:gd name="T11" fmla="*/ 9 h 448"/>
                  <a:gd name="T12" fmla="*/ 39 w 351"/>
                  <a:gd name="T13" fmla="*/ 52 h 448"/>
                  <a:gd name="T14" fmla="*/ 3 w 351"/>
                  <a:gd name="T15" fmla="*/ 123 h 448"/>
                  <a:gd name="T16" fmla="*/ 7 w 351"/>
                  <a:gd name="T17" fmla="*/ 201 h 448"/>
                  <a:gd name="T18" fmla="*/ 34 w 351"/>
                  <a:gd name="T19" fmla="*/ 259 h 448"/>
                  <a:gd name="T20" fmla="*/ 58 w 351"/>
                  <a:gd name="T21" fmla="*/ 310 h 448"/>
                  <a:gd name="T22" fmla="*/ 64 w 351"/>
                  <a:gd name="T23" fmla="*/ 357 h 448"/>
                  <a:gd name="T24" fmla="*/ 54 w 351"/>
                  <a:gd name="T25" fmla="*/ 360 h 448"/>
                  <a:gd name="T26" fmla="*/ 48 w 351"/>
                  <a:gd name="T27" fmla="*/ 368 h 448"/>
                  <a:gd name="T28" fmla="*/ 43 w 351"/>
                  <a:gd name="T29" fmla="*/ 445 h 448"/>
                  <a:gd name="T30" fmla="*/ 256 w 351"/>
                  <a:gd name="T31" fmla="*/ 448 h 448"/>
                  <a:gd name="T32" fmla="*/ 263 w 351"/>
                  <a:gd name="T33" fmla="*/ 443 h 448"/>
                  <a:gd name="T34" fmla="*/ 256 w 351"/>
                  <a:gd name="T35" fmla="*/ 399 h 448"/>
                  <a:gd name="T36" fmla="*/ 249 w 351"/>
                  <a:gd name="T37" fmla="*/ 392 h 448"/>
                  <a:gd name="T38" fmla="*/ 232 w 351"/>
                  <a:gd name="T39" fmla="*/ 384 h 448"/>
                  <a:gd name="T40" fmla="*/ 237 w 351"/>
                  <a:gd name="T41" fmla="*/ 345 h 448"/>
                  <a:gd name="T42" fmla="*/ 296 w 351"/>
                  <a:gd name="T43" fmla="*/ 349 h 448"/>
                  <a:gd name="T44" fmla="*/ 320 w 351"/>
                  <a:gd name="T45" fmla="*/ 320 h 448"/>
                  <a:gd name="T46" fmla="*/ 340 w 351"/>
                  <a:gd name="T47" fmla="*/ 252 h 448"/>
                  <a:gd name="T48" fmla="*/ 351 w 351"/>
                  <a:gd name="T49" fmla="*/ 228 h 448"/>
                  <a:gd name="T50" fmla="*/ 345 w 351"/>
                  <a:gd name="T51" fmla="*/ 200 h 448"/>
                  <a:gd name="T52" fmla="*/ 63 w 351"/>
                  <a:gd name="T53" fmla="*/ 377 h 448"/>
                  <a:gd name="T54" fmla="*/ 328 w 351"/>
                  <a:gd name="T55" fmla="*/ 241 h 448"/>
                  <a:gd name="T56" fmla="*/ 299 w 351"/>
                  <a:gd name="T57" fmla="*/ 243 h 448"/>
                  <a:gd name="T58" fmla="*/ 297 w 351"/>
                  <a:gd name="T59" fmla="*/ 251 h 448"/>
                  <a:gd name="T60" fmla="*/ 304 w 351"/>
                  <a:gd name="T61" fmla="*/ 256 h 448"/>
                  <a:gd name="T62" fmla="*/ 297 w 351"/>
                  <a:gd name="T63" fmla="*/ 331 h 448"/>
                  <a:gd name="T64" fmla="*/ 261 w 351"/>
                  <a:gd name="T65" fmla="*/ 334 h 448"/>
                  <a:gd name="T66" fmla="*/ 208 w 351"/>
                  <a:gd name="T67" fmla="*/ 315 h 448"/>
                  <a:gd name="T68" fmla="*/ 192 w 351"/>
                  <a:gd name="T69" fmla="*/ 304 h 448"/>
                  <a:gd name="T70" fmla="*/ 185 w 351"/>
                  <a:gd name="T71" fmla="*/ 309 h 448"/>
                  <a:gd name="T72" fmla="*/ 187 w 351"/>
                  <a:gd name="T73" fmla="*/ 318 h 448"/>
                  <a:gd name="T74" fmla="*/ 220 w 351"/>
                  <a:gd name="T75" fmla="*/ 351 h 448"/>
                  <a:gd name="T76" fmla="*/ 216 w 351"/>
                  <a:gd name="T77" fmla="*/ 387 h 448"/>
                  <a:gd name="T78" fmla="*/ 80 w 351"/>
                  <a:gd name="T79" fmla="*/ 352 h 448"/>
                  <a:gd name="T80" fmla="*/ 66 w 351"/>
                  <a:gd name="T81" fmla="*/ 286 h 448"/>
                  <a:gd name="T82" fmla="*/ 38 w 351"/>
                  <a:gd name="T83" fmla="*/ 233 h 448"/>
                  <a:gd name="T84" fmla="*/ 18 w 351"/>
                  <a:gd name="T85" fmla="*/ 176 h 448"/>
                  <a:gd name="T86" fmla="*/ 27 w 351"/>
                  <a:gd name="T87" fmla="*/ 97 h 448"/>
                  <a:gd name="T88" fmla="*/ 85 w 351"/>
                  <a:gd name="T89" fmla="*/ 38 h 448"/>
                  <a:gd name="T90" fmla="*/ 176 w 351"/>
                  <a:gd name="T91" fmla="*/ 16 h 448"/>
                  <a:gd name="T92" fmla="*/ 257 w 351"/>
                  <a:gd name="T93" fmla="*/ 27 h 448"/>
                  <a:gd name="T94" fmla="*/ 308 w 351"/>
                  <a:gd name="T95" fmla="*/ 61 h 448"/>
                  <a:gd name="T96" fmla="*/ 325 w 351"/>
                  <a:gd name="T97" fmla="*/ 123 h 448"/>
                  <a:gd name="T98" fmla="*/ 320 w 351"/>
                  <a:gd name="T99" fmla="*/ 160 h 448"/>
                  <a:gd name="T100" fmla="*/ 330 w 351"/>
                  <a:gd name="T101" fmla="*/ 204 h 448"/>
                  <a:gd name="T102" fmla="*/ 335 w 351"/>
                  <a:gd name="T103" fmla="*/ 228 h 448"/>
                  <a:gd name="T104" fmla="*/ 334 w 351"/>
                  <a:gd name="T105" fmla="*/ 236 h 448"/>
                  <a:gd name="T106" fmla="*/ 328 w 351"/>
                  <a:gd name="T107" fmla="*/ 24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1" h="448">
                    <a:moveTo>
                      <a:pt x="345" y="200"/>
                    </a:moveTo>
                    <a:lnTo>
                      <a:pt x="343" y="187"/>
                    </a:lnTo>
                    <a:lnTo>
                      <a:pt x="340" y="174"/>
                    </a:lnTo>
                    <a:lnTo>
                      <a:pt x="337" y="161"/>
                    </a:lnTo>
                    <a:lnTo>
                      <a:pt x="336" y="153"/>
                    </a:lnTo>
                    <a:lnTo>
                      <a:pt x="341" y="129"/>
                    </a:lnTo>
                    <a:lnTo>
                      <a:pt x="341" y="107"/>
                    </a:lnTo>
                    <a:lnTo>
                      <a:pt x="337" y="87"/>
                    </a:lnTo>
                    <a:lnTo>
                      <a:pt x="331" y="67"/>
                    </a:lnTo>
                    <a:lnTo>
                      <a:pt x="320" y="51"/>
                    </a:lnTo>
                    <a:lnTo>
                      <a:pt x="305" y="36"/>
                    </a:lnTo>
                    <a:lnTo>
                      <a:pt x="287" y="23"/>
                    </a:lnTo>
                    <a:lnTo>
                      <a:pt x="264" y="13"/>
                    </a:lnTo>
                    <a:lnTo>
                      <a:pt x="238" y="6"/>
                    </a:lnTo>
                    <a:lnTo>
                      <a:pt x="208" y="2"/>
                    </a:lnTo>
                    <a:lnTo>
                      <a:pt x="176" y="0"/>
                    </a:lnTo>
                    <a:lnTo>
                      <a:pt x="143" y="3"/>
                    </a:lnTo>
                    <a:lnTo>
                      <a:pt x="113" y="9"/>
                    </a:lnTo>
                    <a:lnTo>
                      <a:pt x="85" y="20"/>
                    </a:lnTo>
                    <a:lnTo>
                      <a:pt x="61" y="34"/>
                    </a:lnTo>
                    <a:lnTo>
                      <a:pt x="39" y="52"/>
                    </a:lnTo>
                    <a:lnTo>
                      <a:pt x="23" y="74"/>
                    </a:lnTo>
                    <a:lnTo>
                      <a:pt x="10" y="97"/>
                    </a:lnTo>
                    <a:lnTo>
                      <a:pt x="3" y="123"/>
                    </a:lnTo>
                    <a:lnTo>
                      <a:pt x="0" y="152"/>
                    </a:lnTo>
                    <a:lnTo>
                      <a:pt x="2" y="178"/>
                    </a:lnTo>
                    <a:lnTo>
                      <a:pt x="7" y="201"/>
                    </a:lnTo>
                    <a:lnTo>
                      <a:pt x="15" y="222"/>
                    </a:lnTo>
                    <a:lnTo>
                      <a:pt x="24" y="241"/>
                    </a:lnTo>
                    <a:lnTo>
                      <a:pt x="34" y="259"/>
                    </a:lnTo>
                    <a:lnTo>
                      <a:pt x="43" y="275"/>
                    </a:lnTo>
                    <a:lnTo>
                      <a:pt x="51" y="292"/>
                    </a:lnTo>
                    <a:lnTo>
                      <a:pt x="58" y="310"/>
                    </a:lnTo>
                    <a:lnTo>
                      <a:pt x="62" y="330"/>
                    </a:lnTo>
                    <a:lnTo>
                      <a:pt x="64" y="352"/>
                    </a:lnTo>
                    <a:lnTo>
                      <a:pt x="64" y="357"/>
                    </a:lnTo>
                    <a:lnTo>
                      <a:pt x="63" y="361"/>
                    </a:lnTo>
                    <a:lnTo>
                      <a:pt x="58" y="360"/>
                    </a:lnTo>
                    <a:lnTo>
                      <a:pt x="54" y="360"/>
                    </a:lnTo>
                    <a:lnTo>
                      <a:pt x="51" y="362"/>
                    </a:lnTo>
                    <a:lnTo>
                      <a:pt x="49" y="364"/>
                    </a:lnTo>
                    <a:lnTo>
                      <a:pt x="48" y="368"/>
                    </a:lnTo>
                    <a:lnTo>
                      <a:pt x="40" y="440"/>
                    </a:lnTo>
                    <a:lnTo>
                      <a:pt x="40" y="443"/>
                    </a:lnTo>
                    <a:lnTo>
                      <a:pt x="43" y="445"/>
                    </a:lnTo>
                    <a:lnTo>
                      <a:pt x="45" y="447"/>
                    </a:lnTo>
                    <a:lnTo>
                      <a:pt x="48" y="448"/>
                    </a:lnTo>
                    <a:lnTo>
                      <a:pt x="256" y="448"/>
                    </a:lnTo>
                    <a:lnTo>
                      <a:pt x="259" y="447"/>
                    </a:lnTo>
                    <a:lnTo>
                      <a:pt x="262" y="446"/>
                    </a:lnTo>
                    <a:lnTo>
                      <a:pt x="263" y="443"/>
                    </a:lnTo>
                    <a:lnTo>
                      <a:pt x="264" y="440"/>
                    </a:lnTo>
                    <a:lnTo>
                      <a:pt x="263" y="436"/>
                    </a:lnTo>
                    <a:lnTo>
                      <a:pt x="256" y="399"/>
                    </a:lnTo>
                    <a:lnTo>
                      <a:pt x="255" y="396"/>
                    </a:lnTo>
                    <a:lnTo>
                      <a:pt x="252" y="393"/>
                    </a:lnTo>
                    <a:lnTo>
                      <a:pt x="249" y="392"/>
                    </a:lnTo>
                    <a:lnTo>
                      <a:pt x="232" y="389"/>
                    </a:lnTo>
                    <a:lnTo>
                      <a:pt x="232" y="387"/>
                    </a:lnTo>
                    <a:lnTo>
                      <a:pt x="232" y="384"/>
                    </a:lnTo>
                    <a:lnTo>
                      <a:pt x="233" y="369"/>
                    </a:lnTo>
                    <a:lnTo>
                      <a:pt x="235" y="356"/>
                    </a:lnTo>
                    <a:lnTo>
                      <a:pt x="237" y="345"/>
                    </a:lnTo>
                    <a:lnTo>
                      <a:pt x="259" y="350"/>
                    </a:lnTo>
                    <a:lnTo>
                      <a:pt x="280" y="352"/>
                    </a:lnTo>
                    <a:lnTo>
                      <a:pt x="296" y="349"/>
                    </a:lnTo>
                    <a:lnTo>
                      <a:pt x="307" y="343"/>
                    </a:lnTo>
                    <a:lnTo>
                      <a:pt x="317" y="332"/>
                    </a:lnTo>
                    <a:lnTo>
                      <a:pt x="320" y="320"/>
                    </a:lnTo>
                    <a:lnTo>
                      <a:pt x="320" y="256"/>
                    </a:lnTo>
                    <a:lnTo>
                      <a:pt x="328" y="256"/>
                    </a:lnTo>
                    <a:lnTo>
                      <a:pt x="340" y="252"/>
                    </a:lnTo>
                    <a:lnTo>
                      <a:pt x="348" y="244"/>
                    </a:lnTo>
                    <a:lnTo>
                      <a:pt x="351" y="232"/>
                    </a:lnTo>
                    <a:lnTo>
                      <a:pt x="351" y="228"/>
                    </a:lnTo>
                    <a:lnTo>
                      <a:pt x="350" y="222"/>
                    </a:lnTo>
                    <a:lnTo>
                      <a:pt x="348" y="213"/>
                    </a:lnTo>
                    <a:lnTo>
                      <a:pt x="345" y="200"/>
                    </a:lnTo>
                    <a:close/>
                    <a:moveTo>
                      <a:pt x="246" y="432"/>
                    </a:moveTo>
                    <a:lnTo>
                      <a:pt x="57" y="432"/>
                    </a:lnTo>
                    <a:lnTo>
                      <a:pt x="63" y="377"/>
                    </a:lnTo>
                    <a:lnTo>
                      <a:pt x="242" y="407"/>
                    </a:lnTo>
                    <a:lnTo>
                      <a:pt x="246" y="432"/>
                    </a:lnTo>
                    <a:close/>
                    <a:moveTo>
                      <a:pt x="328" y="241"/>
                    </a:moveTo>
                    <a:lnTo>
                      <a:pt x="304" y="241"/>
                    </a:lnTo>
                    <a:lnTo>
                      <a:pt x="301" y="241"/>
                    </a:lnTo>
                    <a:lnTo>
                      <a:pt x="299" y="243"/>
                    </a:lnTo>
                    <a:lnTo>
                      <a:pt x="297" y="245"/>
                    </a:lnTo>
                    <a:lnTo>
                      <a:pt x="296" y="248"/>
                    </a:lnTo>
                    <a:lnTo>
                      <a:pt x="297" y="251"/>
                    </a:lnTo>
                    <a:lnTo>
                      <a:pt x="299" y="253"/>
                    </a:lnTo>
                    <a:lnTo>
                      <a:pt x="301" y="256"/>
                    </a:lnTo>
                    <a:lnTo>
                      <a:pt x="304" y="256"/>
                    </a:lnTo>
                    <a:lnTo>
                      <a:pt x="304" y="320"/>
                    </a:lnTo>
                    <a:lnTo>
                      <a:pt x="302" y="326"/>
                    </a:lnTo>
                    <a:lnTo>
                      <a:pt x="297" y="331"/>
                    </a:lnTo>
                    <a:lnTo>
                      <a:pt x="289" y="334"/>
                    </a:lnTo>
                    <a:lnTo>
                      <a:pt x="280" y="336"/>
                    </a:lnTo>
                    <a:lnTo>
                      <a:pt x="261" y="334"/>
                    </a:lnTo>
                    <a:lnTo>
                      <a:pt x="242" y="330"/>
                    </a:lnTo>
                    <a:lnTo>
                      <a:pt x="223" y="322"/>
                    </a:lnTo>
                    <a:lnTo>
                      <a:pt x="208" y="315"/>
                    </a:lnTo>
                    <a:lnTo>
                      <a:pt x="198" y="306"/>
                    </a:lnTo>
                    <a:lnTo>
                      <a:pt x="195" y="305"/>
                    </a:lnTo>
                    <a:lnTo>
                      <a:pt x="192" y="304"/>
                    </a:lnTo>
                    <a:lnTo>
                      <a:pt x="189" y="305"/>
                    </a:lnTo>
                    <a:lnTo>
                      <a:pt x="187" y="306"/>
                    </a:lnTo>
                    <a:lnTo>
                      <a:pt x="185" y="309"/>
                    </a:lnTo>
                    <a:lnTo>
                      <a:pt x="184" y="312"/>
                    </a:lnTo>
                    <a:lnTo>
                      <a:pt x="185" y="315"/>
                    </a:lnTo>
                    <a:lnTo>
                      <a:pt x="187" y="318"/>
                    </a:lnTo>
                    <a:lnTo>
                      <a:pt x="202" y="330"/>
                    </a:lnTo>
                    <a:lnTo>
                      <a:pt x="222" y="340"/>
                    </a:lnTo>
                    <a:lnTo>
                      <a:pt x="220" y="351"/>
                    </a:lnTo>
                    <a:lnTo>
                      <a:pt x="217" y="366"/>
                    </a:lnTo>
                    <a:lnTo>
                      <a:pt x="216" y="384"/>
                    </a:lnTo>
                    <a:lnTo>
                      <a:pt x="216" y="387"/>
                    </a:lnTo>
                    <a:lnTo>
                      <a:pt x="79" y="364"/>
                    </a:lnTo>
                    <a:lnTo>
                      <a:pt x="80" y="358"/>
                    </a:lnTo>
                    <a:lnTo>
                      <a:pt x="80" y="352"/>
                    </a:lnTo>
                    <a:lnTo>
                      <a:pt x="78" y="328"/>
                    </a:lnTo>
                    <a:lnTo>
                      <a:pt x="73" y="306"/>
                    </a:lnTo>
                    <a:lnTo>
                      <a:pt x="66" y="286"/>
                    </a:lnTo>
                    <a:lnTo>
                      <a:pt x="57" y="269"/>
                    </a:lnTo>
                    <a:lnTo>
                      <a:pt x="48" y="251"/>
                    </a:lnTo>
                    <a:lnTo>
                      <a:pt x="38" y="233"/>
                    </a:lnTo>
                    <a:lnTo>
                      <a:pt x="30" y="216"/>
                    </a:lnTo>
                    <a:lnTo>
                      <a:pt x="22" y="196"/>
                    </a:lnTo>
                    <a:lnTo>
                      <a:pt x="18" y="176"/>
                    </a:lnTo>
                    <a:lnTo>
                      <a:pt x="16" y="152"/>
                    </a:lnTo>
                    <a:lnTo>
                      <a:pt x="19" y="123"/>
                    </a:lnTo>
                    <a:lnTo>
                      <a:pt x="27" y="97"/>
                    </a:lnTo>
                    <a:lnTo>
                      <a:pt x="43" y="75"/>
                    </a:lnTo>
                    <a:lnTo>
                      <a:pt x="61" y="54"/>
                    </a:lnTo>
                    <a:lnTo>
                      <a:pt x="85" y="38"/>
                    </a:lnTo>
                    <a:lnTo>
                      <a:pt x="111" y="26"/>
                    </a:lnTo>
                    <a:lnTo>
                      <a:pt x="143" y="19"/>
                    </a:lnTo>
                    <a:lnTo>
                      <a:pt x="176" y="16"/>
                    </a:lnTo>
                    <a:lnTo>
                      <a:pt x="206" y="18"/>
                    </a:lnTo>
                    <a:lnTo>
                      <a:pt x="233" y="21"/>
                    </a:lnTo>
                    <a:lnTo>
                      <a:pt x="257" y="27"/>
                    </a:lnTo>
                    <a:lnTo>
                      <a:pt x="277" y="36"/>
                    </a:lnTo>
                    <a:lnTo>
                      <a:pt x="294" y="48"/>
                    </a:lnTo>
                    <a:lnTo>
                      <a:pt x="308" y="61"/>
                    </a:lnTo>
                    <a:lnTo>
                      <a:pt x="318" y="79"/>
                    </a:lnTo>
                    <a:lnTo>
                      <a:pt x="325" y="100"/>
                    </a:lnTo>
                    <a:lnTo>
                      <a:pt x="325" y="123"/>
                    </a:lnTo>
                    <a:lnTo>
                      <a:pt x="320" y="150"/>
                    </a:lnTo>
                    <a:lnTo>
                      <a:pt x="320" y="152"/>
                    </a:lnTo>
                    <a:lnTo>
                      <a:pt x="320" y="160"/>
                    </a:lnTo>
                    <a:lnTo>
                      <a:pt x="322" y="172"/>
                    </a:lnTo>
                    <a:lnTo>
                      <a:pt x="326" y="187"/>
                    </a:lnTo>
                    <a:lnTo>
                      <a:pt x="330" y="204"/>
                    </a:lnTo>
                    <a:lnTo>
                      <a:pt x="332" y="213"/>
                    </a:lnTo>
                    <a:lnTo>
                      <a:pt x="334" y="221"/>
                    </a:lnTo>
                    <a:lnTo>
                      <a:pt x="335" y="228"/>
                    </a:lnTo>
                    <a:lnTo>
                      <a:pt x="336" y="232"/>
                    </a:lnTo>
                    <a:lnTo>
                      <a:pt x="335" y="234"/>
                    </a:lnTo>
                    <a:lnTo>
                      <a:pt x="334" y="236"/>
                    </a:lnTo>
                    <a:lnTo>
                      <a:pt x="332" y="238"/>
                    </a:lnTo>
                    <a:lnTo>
                      <a:pt x="330" y="239"/>
                    </a:lnTo>
                    <a:lnTo>
                      <a:pt x="328" y="24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73" tIns="46637" rIns="93273" bIns="46637" numCol="1" anchor="t" anchorCtr="0" compatLnSpc="1">
                <a:prstTxWarp prst="textNoShape">
                  <a:avLst/>
                </a:prstTxWarp>
              </a:bodyPr>
              <a:lstStyle/>
              <a:p>
                <a:pPr defTabSz="932682">
                  <a:defRPr/>
                </a:pPr>
                <a:endParaRPr lang="hu-HU" sz="1632">
                  <a:solidFill>
                    <a:srgbClr val="000000"/>
                  </a:solidFill>
                  <a:latin typeface="Open Sans"/>
                </a:endParaRPr>
              </a:p>
            </p:txBody>
          </p:sp>
        </p:grpSp>
      </p:grpSp>
      <p:pic>
        <p:nvPicPr>
          <p:cNvPr id="113" name="Picture 112">
            <a:extLst>
              <a:ext uri="{FF2B5EF4-FFF2-40B4-BE49-F238E27FC236}">
                <a16:creationId xmlns:a16="http://schemas.microsoft.com/office/drawing/2014/main" id="{8D2237B4-D9EF-4427-8C5E-116AD6424A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4879" y="4959461"/>
            <a:ext cx="546000" cy="504000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9A748CD8-B275-4251-A96D-66A6C86C1EB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02609" y="4952477"/>
            <a:ext cx="553574" cy="50400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3067EF7A-5091-41B5-8BF4-547DECA03CC3}"/>
              </a:ext>
            </a:extLst>
          </p:cNvPr>
          <p:cNvSpPr txBox="1">
            <a:spLocks/>
          </p:cNvSpPr>
          <p:nvPr/>
        </p:nvSpPr>
        <p:spPr>
          <a:xfrm>
            <a:off x="7566590" y="5604849"/>
            <a:ext cx="18008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68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Fejlett nyersanyagok az új iparágakban: repülőipar, automatizálás, akkumulátorok, iletve egészségügy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91003BC-87FB-464D-86AF-1786556754AB}"/>
              </a:ext>
            </a:extLst>
          </p:cNvPr>
          <p:cNvSpPr txBox="1">
            <a:spLocks/>
          </p:cNvSpPr>
          <p:nvPr/>
        </p:nvSpPr>
        <p:spPr>
          <a:xfrm>
            <a:off x="9318774" y="5604849"/>
            <a:ext cx="2191324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defTabSz="93268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200">
                <a:solidFill>
                  <a:srgbClr val="F0F0F0">
                    <a:lumMod val="10000"/>
                  </a:srgbClr>
                </a:solidFill>
                <a:latin typeface="Open Sans"/>
              </a:rPr>
              <a:t>A befektetők számára egyedülálló ajánlat minimális előzetes beruházással, amelyet a megosztott Tungsram infrastruktúra és erőforrások tesznek lehetővé</a:t>
            </a: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BFE50000-B89E-4356-8C5D-B768D118E81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6228"/>
          <a:stretch/>
        </p:blipFill>
        <p:spPr>
          <a:xfrm>
            <a:off x="9133082" y="3525604"/>
            <a:ext cx="889151" cy="1267198"/>
          </a:xfrm>
          <a:prstGeom prst="rect">
            <a:avLst/>
          </a:prstGeom>
        </p:spPr>
      </p:pic>
      <p:pic>
        <p:nvPicPr>
          <p:cNvPr id="91" name="Bild 7" descr="Tungsram-T-emblem.png">
            <a:extLst>
              <a:ext uri="{FF2B5EF4-FFF2-40B4-BE49-F238E27FC236}">
                <a16:creationId xmlns:a16="http://schemas.microsoft.com/office/drawing/2014/main" id="{FAC95FD2-F2F0-4E29-A66B-25AA2CBA600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594281" y="217485"/>
            <a:ext cx="29093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567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zövegdoboz 14">
            <a:extLst>
              <a:ext uri="{FF2B5EF4-FFF2-40B4-BE49-F238E27FC236}">
                <a16:creationId xmlns:a16="http://schemas.microsoft.com/office/drawing/2014/main" id="{563F120B-9304-473F-A082-A7587D2E139E}"/>
              </a:ext>
            </a:extLst>
          </p:cNvPr>
          <p:cNvSpPr txBox="1"/>
          <p:nvPr/>
        </p:nvSpPr>
        <p:spPr>
          <a:xfrm>
            <a:off x="604870" y="217485"/>
            <a:ext cx="26519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n-ea"/>
                <a:cs typeface="Open Sans Light"/>
              </a:rPr>
              <a:t>Megatrendek</a:t>
            </a:r>
            <a:r>
              <a:rPr kumimoji="0" lang="hu-H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n-ea"/>
                <a:cs typeface="Open Sans Light"/>
              </a:rPr>
              <a:t> </a:t>
            </a:r>
          </a:p>
        </p:txBody>
      </p:sp>
      <p:sp>
        <p:nvSpPr>
          <p:cNvPr id="4" name="Rechteck 3"/>
          <p:cNvSpPr/>
          <p:nvPr/>
        </p:nvSpPr>
        <p:spPr>
          <a:xfrm>
            <a:off x="1588" y="0"/>
            <a:ext cx="288000" cy="6858000"/>
          </a:xfrm>
          <a:prstGeom prst="rect">
            <a:avLst/>
          </a:prstGeom>
          <a:solidFill>
            <a:srgbClr val="11287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pic>
        <p:nvPicPr>
          <p:cNvPr id="91" name="Bild 7" descr="Tungsram-T-emblem.png">
            <a:extLst>
              <a:ext uri="{FF2B5EF4-FFF2-40B4-BE49-F238E27FC236}">
                <a16:creationId xmlns:a16="http://schemas.microsoft.com/office/drawing/2014/main" id="{FAC95FD2-F2F0-4E29-A66B-25AA2CBA6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4281" y="217485"/>
            <a:ext cx="290932" cy="28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C9B3CA6-523C-45A3-8575-B19608CF0859}"/>
              </a:ext>
            </a:extLst>
          </p:cNvPr>
          <p:cNvGrpSpPr/>
          <p:nvPr/>
        </p:nvGrpSpPr>
        <p:grpSpPr>
          <a:xfrm>
            <a:off x="810680" y="2020575"/>
            <a:ext cx="792539" cy="792439"/>
            <a:chOff x="743877" y="1927810"/>
            <a:chExt cx="792539" cy="792439"/>
          </a:xfrm>
        </p:grpSpPr>
        <p:sp>
          <p:nvSpPr>
            <p:cNvPr id="2" name="Partial Circle 1">
              <a:extLst>
                <a:ext uri="{FF2B5EF4-FFF2-40B4-BE49-F238E27FC236}">
                  <a16:creationId xmlns:a16="http://schemas.microsoft.com/office/drawing/2014/main" id="{038C0915-3202-4739-A1FA-B88915DC7D7F}"/>
                </a:ext>
              </a:extLst>
            </p:cNvPr>
            <p:cNvSpPr/>
            <p:nvPr/>
          </p:nvSpPr>
          <p:spPr>
            <a:xfrm flipH="1">
              <a:off x="743877" y="1927811"/>
              <a:ext cx="792539" cy="792438"/>
            </a:xfrm>
            <a:prstGeom prst="pie">
              <a:avLst>
                <a:gd name="adj1" fmla="val 15202221"/>
                <a:gd name="adj2" fmla="val 16200000"/>
              </a:avLst>
            </a:prstGeom>
            <a:solidFill>
              <a:srgbClr val="11287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3" name="Flowchart: Connector 2">
              <a:extLst>
                <a:ext uri="{FF2B5EF4-FFF2-40B4-BE49-F238E27FC236}">
                  <a16:creationId xmlns:a16="http://schemas.microsoft.com/office/drawing/2014/main" id="{66BFC591-5F99-459A-852D-5E77489DF52F}"/>
                </a:ext>
              </a:extLst>
            </p:cNvPr>
            <p:cNvSpPr/>
            <p:nvPr/>
          </p:nvSpPr>
          <p:spPr>
            <a:xfrm>
              <a:off x="743878" y="1927810"/>
              <a:ext cx="792205" cy="792205"/>
            </a:xfrm>
            <a:prstGeom prst="flowChartConnector">
              <a:avLst/>
            </a:prstGeom>
            <a:noFill/>
            <a:ln>
              <a:solidFill>
                <a:srgbClr val="1128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CA042D4-D90A-4BF4-9F53-681BFDC09387}"/>
              </a:ext>
            </a:extLst>
          </p:cNvPr>
          <p:cNvGrpSpPr/>
          <p:nvPr/>
        </p:nvGrpSpPr>
        <p:grpSpPr>
          <a:xfrm>
            <a:off x="1667114" y="2020575"/>
            <a:ext cx="792539" cy="792439"/>
            <a:chOff x="1311416" y="1927810"/>
            <a:chExt cx="792539" cy="792439"/>
          </a:xfrm>
        </p:grpSpPr>
        <p:sp>
          <p:nvSpPr>
            <p:cNvPr id="94" name="Partial Circle 93">
              <a:extLst>
                <a:ext uri="{FF2B5EF4-FFF2-40B4-BE49-F238E27FC236}">
                  <a16:creationId xmlns:a16="http://schemas.microsoft.com/office/drawing/2014/main" id="{41BB8A14-14B4-4470-B708-E82E57D90D8C}"/>
                </a:ext>
              </a:extLst>
            </p:cNvPr>
            <p:cNvSpPr/>
            <p:nvPr/>
          </p:nvSpPr>
          <p:spPr>
            <a:xfrm flipH="1">
              <a:off x="1311416" y="1927811"/>
              <a:ext cx="792539" cy="792438"/>
            </a:xfrm>
            <a:prstGeom prst="pie">
              <a:avLst>
                <a:gd name="adj1" fmla="val 10215853"/>
                <a:gd name="adj2" fmla="val 16200000"/>
              </a:avLst>
            </a:prstGeom>
            <a:solidFill>
              <a:srgbClr val="11287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95" name="Flowchart: Connector 94">
              <a:extLst>
                <a:ext uri="{FF2B5EF4-FFF2-40B4-BE49-F238E27FC236}">
                  <a16:creationId xmlns:a16="http://schemas.microsoft.com/office/drawing/2014/main" id="{577E9073-909F-4601-8280-13EFC821402D}"/>
                </a:ext>
              </a:extLst>
            </p:cNvPr>
            <p:cNvSpPr/>
            <p:nvPr/>
          </p:nvSpPr>
          <p:spPr>
            <a:xfrm>
              <a:off x="1311417" y="1927810"/>
              <a:ext cx="792205" cy="792205"/>
            </a:xfrm>
            <a:prstGeom prst="flowChartConnector">
              <a:avLst/>
            </a:prstGeom>
            <a:noFill/>
            <a:ln>
              <a:solidFill>
                <a:srgbClr val="1128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08ECF9D-75E8-4B8D-85B7-94633F962FFA}"/>
              </a:ext>
            </a:extLst>
          </p:cNvPr>
          <p:cNvGrpSpPr/>
          <p:nvPr/>
        </p:nvGrpSpPr>
        <p:grpSpPr>
          <a:xfrm>
            <a:off x="2523548" y="2020575"/>
            <a:ext cx="792539" cy="792439"/>
            <a:chOff x="1900905" y="1927810"/>
            <a:chExt cx="792539" cy="792439"/>
          </a:xfrm>
        </p:grpSpPr>
        <p:sp>
          <p:nvSpPr>
            <p:cNvPr id="96" name="Partial Circle 95">
              <a:extLst>
                <a:ext uri="{FF2B5EF4-FFF2-40B4-BE49-F238E27FC236}">
                  <a16:creationId xmlns:a16="http://schemas.microsoft.com/office/drawing/2014/main" id="{302BA732-2A56-4E89-8345-FAB662FBFC16}"/>
                </a:ext>
              </a:extLst>
            </p:cNvPr>
            <p:cNvSpPr/>
            <p:nvPr/>
          </p:nvSpPr>
          <p:spPr>
            <a:xfrm flipH="1">
              <a:off x="1900905" y="1927811"/>
              <a:ext cx="792539" cy="792438"/>
            </a:xfrm>
            <a:prstGeom prst="pie">
              <a:avLst>
                <a:gd name="adj1" fmla="val 5378527"/>
                <a:gd name="adj2" fmla="val 16200000"/>
              </a:avLst>
            </a:prstGeom>
            <a:solidFill>
              <a:srgbClr val="11287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97" name="Flowchart: Connector 96">
              <a:extLst>
                <a:ext uri="{FF2B5EF4-FFF2-40B4-BE49-F238E27FC236}">
                  <a16:creationId xmlns:a16="http://schemas.microsoft.com/office/drawing/2014/main" id="{349DAC1A-EB40-4CA2-9AE7-088E905A0229}"/>
                </a:ext>
              </a:extLst>
            </p:cNvPr>
            <p:cNvSpPr/>
            <p:nvPr/>
          </p:nvSpPr>
          <p:spPr>
            <a:xfrm>
              <a:off x="1900906" y="1927810"/>
              <a:ext cx="792205" cy="792205"/>
            </a:xfrm>
            <a:prstGeom prst="flowChartConnector">
              <a:avLst/>
            </a:prstGeom>
            <a:noFill/>
            <a:ln>
              <a:solidFill>
                <a:srgbClr val="1128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EFA83C5-7DD4-4B34-A245-7953998F7C59}"/>
              </a:ext>
            </a:extLst>
          </p:cNvPr>
          <p:cNvGrpSpPr/>
          <p:nvPr/>
        </p:nvGrpSpPr>
        <p:grpSpPr>
          <a:xfrm>
            <a:off x="3379983" y="2020575"/>
            <a:ext cx="792539" cy="792439"/>
            <a:chOff x="3086753" y="1927810"/>
            <a:chExt cx="792539" cy="792439"/>
          </a:xfrm>
        </p:grpSpPr>
        <p:sp>
          <p:nvSpPr>
            <p:cNvPr id="98" name="Partial Circle 97">
              <a:extLst>
                <a:ext uri="{FF2B5EF4-FFF2-40B4-BE49-F238E27FC236}">
                  <a16:creationId xmlns:a16="http://schemas.microsoft.com/office/drawing/2014/main" id="{A2CDF334-95C3-4A75-B147-2B1489DA2640}"/>
                </a:ext>
              </a:extLst>
            </p:cNvPr>
            <p:cNvSpPr/>
            <p:nvPr/>
          </p:nvSpPr>
          <p:spPr>
            <a:xfrm flipH="1">
              <a:off x="3086753" y="1927811"/>
              <a:ext cx="792539" cy="792438"/>
            </a:xfrm>
            <a:prstGeom prst="pie">
              <a:avLst>
                <a:gd name="adj1" fmla="val 3204452"/>
                <a:gd name="adj2" fmla="val 16200000"/>
              </a:avLst>
            </a:prstGeom>
            <a:solidFill>
              <a:srgbClr val="11287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99" name="Flowchart: Connector 98">
              <a:extLst>
                <a:ext uri="{FF2B5EF4-FFF2-40B4-BE49-F238E27FC236}">
                  <a16:creationId xmlns:a16="http://schemas.microsoft.com/office/drawing/2014/main" id="{4E812665-3385-4C89-9CB8-35EA940A4671}"/>
                </a:ext>
              </a:extLst>
            </p:cNvPr>
            <p:cNvSpPr/>
            <p:nvPr/>
          </p:nvSpPr>
          <p:spPr>
            <a:xfrm>
              <a:off x="3086754" y="1927810"/>
              <a:ext cx="792205" cy="792205"/>
            </a:xfrm>
            <a:prstGeom prst="flowChartConnector">
              <a:avLst/>
            </a:prstGeom>
            <a:noFill/>
            <a:ln>
              <a:solidFill>
                <a:srgbClr val="1128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DCA45A86-C7D8-40DA-A157-9E34015A39EC}"/>
              </a:ext>
            </a:extLst>
          </p:cNvPr>
          <p:cNvSpPr txBox="1">
            <a:spLocks/>
          </p:cNvSpPr>
          <p:nvPr/>
        </p:nvSpPr>
        <p:spPr>
          <a:xfrm>
            <a:off x="911215" y="1699879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800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38396BB-516E-4B5D-B995-74DBF304EE37}"/>
              </a:ext>
            </a:extLst>
          </p:cNvPr>
          <p:cNvSpPr txBox="1">
            <a:spLocks/>
          </p:cNvSpPr>
          <p:nvPr/>
        </p:nvSpPr>
        <p:spPr>
          <a:xfrm>
            <a:off x="1762257" y="1699879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950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3976AEF-7956-4EFD-AB76-2E3F27A0B220}"/>
              </a:ext>
            </a:extLst>
          </p:cNvPr>
          <p:cNvSpPr txBox="1">
            <a:spLocks/>
          </p:cNvSpPr>
          <p:nvPr/>
        </p:nvSpPr>
        <p:spPr>
          <a:xfrm>
            <a:off x="2613299" y="1696428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008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3E2E9E8-5187-44F7-85E4-35DBF3E85D4C}"/>
              </a:ext>
            </a:extLst>
          </p:cNvPr>
          <p:cNvSpPr txBox="1">
            <a:spLocks/>
          </p:cNvSpPr>
          <p:nvPr/>
        </p:nvSpPr>
        <p:spPr>
          <a:xfrm>
            <a:off x="3464340" y="1696428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040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DD66D74-6F3A-4FE6-B3B3-788DF77F41E3}"/>
              </a:ext>
            </a:extLst>
          </p:cNvPr>
          <p:cNvSpPr txBox="1">
            <a:spLocks/>
          </p:cNvSpPr>
          <p:nvPr/>
        </p:nvSpPr>
        <p:spPr>
          <a:xfrm>
            <a:off x="911215" y="2943416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%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C2272964-2338-4C9B-B57F-F2A43DFF1742}"/>
              </a:ext>
            </a:extLst>
          </p:cNvPr>
          <p:cNvSpPr txBox="1">
            <a:spLocks/>
          </p:cNvSpPr>
          <p:nvPr/>
        </p:nvSpPr>
        <p:spPr>
          <a:xfrm>
            <a:off x="1762255" y="2937210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9%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828E346D-387F-4F1A-B0D1-04B9DB1365CF}"/>
              </a:ext>
            </a:extLst>
          </p:cNvPr>
          <p:cNvSpPr txBox="1">
            <a:spLocks/>
          </p:cNvSpPr>
          <p:nvPr/>
        </p:nvSpPr>
        <p:spPr>
          <a:xfrm>
            <a:off x="2613299" y="2943415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80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50%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5AD189D-5E0F-4566-9ABE-28AEF244D696}"/>
              </a:ext>
            </a:extLst>
          </p:cNvPr>
          <p:cNvSpPr txBox="1">
            <a:spLocks/>
          </p:cNvSpPr>
          <p:nvPr/>
        </p:nvSpPr>
        <p:spPr>
          <a:xfrm>
            <a:off x="3464339" y="2943415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65%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367B532-EA12-449A-8B21-C708797B3715}"/>
              </a:ext>
            </a:extLst>
          </p:cNvPr>
          <p:cNvSpPr txBox="1">
            <a:spLocks/>
          </p:cNvSpPr>
          <p:nvPr/>
        </p:nvSpPr>
        <p:spPr>
          <a:xfrm>
            <a:off x="639215" y="836240"/>
            <a:ext cx="3810376" cy="5180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b="1" dirty="0">
                <a:solidFill>
                  <a:srgbClr val="112870"/>
                </a:solidFill>
                <a:latin typeface="Open Sans"/>
              </a:rPr>
              <a:t>Urbanizáció</a:t>
            </a:r>
          </a:p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40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A városokban élő lakosság százalékos aránya</a:t>
            </a:r>
            <a:endParaRPr kumimoji="0" lang="hu-HU" sz="1400" b="0" i="0" u="none" strike="noStrike" kern="1200" cap="none" spc="0" normalizeH="0" baseline="0" dirty="0">
              <a:ln>
                <a:noFill/>
              </a:ln>
              <a:solidFill>
                <a:srgbClr val="F0F0F0">
                  <a:lumMod val="1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4D54D63F-D3D3-4A90-B2F3-6D0D7F1F5B9A}"/>
              </a:ext>
            </a:extLst>
          </p:cNvPr>
          <p:cNvCxnSpPr>
            <a:cxnSpLocks/>
          </p:cNvCxnSpPr>
          <p:nvPr/>
        </p:nvCxnSpPr>
        <p:spPr>
          <a:xfrm>
            <a:off x="547394" y="3503043"/>
            <a:ext cx="11304000" cy="0"/>
          </a:xfrm>
          <a:prstGeom prst="line">
            <a:avLst/>
          </a:prstGeom>
          <a:ln w="19050">
            <a:solidFill>
              <a:srgbClr val="11287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84742FFF-D7C0-4AAF-86AA-87FE56309CB8}"/>
              </a:ext>
            </a:extLst>
          </p:cNvPr>
          <p:cNvGrpSpPr/>
          <p:nvPr/>
        </p:nvGrpSpPr>
        <p:grpSpPr>
          <a:xfrm>
            <a:off x="6674882" y="2368729"/>
            <a:ext cx="1483934" cy="767035"/>
            <a:chOff x="5307035" y="1865282"/>
            <a:chExt cx="2112815" cy="1092100"/>
          </a:xfrm>
        </p:grpSpPr>
        <p:pic>
          <p:nvPicPr>
            <p:cNvPr id="130" name="Graphic 129" descr="Woman">
              <a:extLst>
                <a:ext uri="{FF2B5EF4-FFF2-40B4-BE49-F238E27FC236}">
                  <a16:creationId xmlns:a16="http://schemas.microsoft.com/office/drawing/2014/main" id="{FD3CCD22-193A-422D-B81B-FD7BB3C85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28087" y="1865618"/>
              <a:ext cx="1091763" cy="1091764"/>
            </a:xfrm>
            <a:prstGeom prst="rect">
              <a:avLst/>
            </a:prstGeom>
          </p:spPr>
        </p:pic>
        <p:pic>
          <p:nvPicPr>
            <p:cNvPr id="131" name="Graphic 130" descr="Man">
              <a:extLst>
                <a:ext uri="{FF2B5EF4-FFF2-40B4-BE49-F238E27FC236}">
                  <a16:creationId xmlns:a16="http://schemas.microsoft.com/office/drawing/2014/main" id="{D884D545-EF1A-467E-9227-6E94E26F42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07035" y="1865282"/>
              <a:ext cx="1092099" cy="1092099"/>
            </a:xfrm>
            <a:prstGeom prst="rect">
              <a:avLst/>
            </a:prstGeom>
          </p:spPr>
        </p:pic>
      </p:grpSp>
      <p:pic>
        <p:nvPicPr>
          <p:cNvPr id="21" name="Graphic 20" descr="Woman">
            <a:extLst>
              <a:ext uri="{FF2B5EF4-FFF2-40B4-BE49-F238E27FC236}">
                <a16:creationId xmlns:a16="http://schemas.microsoft.com/office/drawing/2014/main" id="{522687B5-F2C6-41F6-8BD2-E07858A834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13007" y="2493536"/>
            <a:ext cx="642228" cy="642228"/>
          </a:xfrm>
          <a:prstGeom prst="rect">
            <a:avLst/>
          </a:prstGeom>
        </p:spPr>
      </p:pic>
      <p:pic>
        <p:nvPicPr>
          <p:cNvPr id="23" name="Graphic 22" descr="Man">
            <a:extLst>
              <a:ext uri="{FF2B5EF4-FFF2-40B4-BE49-F238E27FC236}">
                <a16:creationId xmlns:a16="http://schemas.microsoft.com/office/drawing/2014/main" id="{0BC705E3-F9BC-453D-A627-E6ED6F3B8D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42037" y="2493536"/>
            <a:ext cx="642228" cy="64222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B587B35-DF7E-4503-A09E-FB74EF0EF221}"/>
              </a:ext>
            </a:extLst>
          </p:cNvPr>
          <p:cNvSpPr/>
          <p:nvPr/>
        </p:nvSpPr>
        <p:spPr>
          <a:xfrm>
            <a:off x="5238440" y="2814649"/>
            <a:ext cx="220392" cy="282299"/>
          </a:xfrm>
          <a:prstGeom prst="rect">
            <a:avLst/>
          </a:prstGeom>
          <a:solidFill>
            <a:srgbClr val="112870"/>
          </a:solidFill>
          <a:ln>
            <a:solidFill>
              <a:srgbClr val="1128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40EA901-9389-4091-A862-1344F62165A0}"/>
              </a:ext>
            </a:extLst>
          </p:cNvPr>
          <p:cNvSpPr/>
          <p:nvPr/>
        </p:nvSpPr>
        <p:spPr>
          <a:xfrm>
            <a:off x="5944239" y="2559823"/>
            <a:ext cx="220392" cy="537126"/>
          </a:xfrm>
          <a:prstGeom prst="rect">
            <a:avLst/>
          </a:prstGeom>
          <a:solidFill>
            <a:srgbClr val="112870"/>
          </a:solidFill>
          <a:ln>
            <a:solidFill>
              <a:srgbClr val="1128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1BAA932B-FC1D-40D3-9B33-C51D9E309338}"/>
              </a:ext>
            </a:extLst>
          </p:cNvPr>
          <p:cNvSpPr/>
          <p:nvPr/>
        </p:nvSpPr>
        <p:spPr>
          <a:xfrm>
            <a:off x="6565969" y="2220681"/>
            <a:ext cx="220392" cy="876267"/>
          </a:xfrm>
          <a:prstGeom prst="rect">
            <a:avLst/>
          </a:prstGeom>
          <a:solidFill>
            <a:srgbClr val="112870"/>
          </a:solidFill>
          <a:ln>
            <a:solidFill>
              <a:srgbClr val="1128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DDDA285-7BC5-4FF4-859C-F182C3AEEEA6}"/>
              </a:ext>
            </a:extLst>
          </p:cNvPr>
          <p:cNvSpPr/>
          <p:nvPr/>
        </p:nvSpPr>
        <p:spPr>
          <a:xfrm>
            <a:off x="7281821" y="1820087"/>
            <a:ext cx="220392" cy="1276862"/>
          </a:xfrm>
          <a:prstGeom prst="rect">
            <a:avLst/>
          </a:prstGeom>
          <a:solidFill>
            <a:srgbClr val="112870"/>
          </a:solidFill>
          <a:ln>
            <a:solidFill>
              <a:srgbClr val="1128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D885FA0-87F3-41E3-8196-7A5E0BB4FDFB}"/>
              </a:ext>
            </a:extLst>
          </p:cNvPr>
          <p:cNvSpPr txBox="1">
            <a:spLocks/>
          </p:cNvSpPr>
          <p:nvPr/>
        </p:nvSpPr>
        <p:spPr>
          <a:xfrm>
            <a:off x="5018760" y="3162979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990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63A642C4-9E93-4982-AC07-D735D2C76DEC}"/>
              </a:ext>
            </a:extLst>
          </p:cNvPr>
          <p:cNvSpPr txBox="1">
            <a:spLocks/>
          </p:cNvSpPr>
          <p:nvPr/>
        </p:nvSpPr>
        <p:spPr>
          <a:xfrm>
            <a:off x="5704336" y="3162979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40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2017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F0F0F0">
                  <a:lumMod val="1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68CB7AD4-E44E-449B-B110-68BD7844A7BC}"/>
              </a:ext>
            </a:extLst>
          </p:cNvPr>
          <p:cNvSpPr txBox="1">
            <a:spLocks/>
          </p:cNvSpPr>
          <p:nvPr/>
        </p:nvSpPr>
        <p:spPr>
          <a:xfrm>
            <a:off x="6372494" y="3159528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050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5A6F3A09-A695-4B0F-9803-817BC2B85726}"/>
              </a:ext>
            </a:extLst>
          </p:cNvPr>
          <p:cNvSpPr txBox="1">
            <a:spLocks/>
          </p:cNvSpPr>
          <p:nvPr/>
        </p:nvSpPr>
        <p:spPr>
          <a:xfrm>
            <a:off x="7075487" y="3159528"/>
            <a:ext cx="64125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100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4CA31CE7-B24E-440B-BDF0-22DCDEA4A087}"/>
              </a:ext>
            </a:extLst>
          </p:cNvPr>
          <p:cNvSpPr txBox="1">
            <a:spLocks/>
          </p:cNvSpPr>
          <p:nvPr/>
        </p:nvSpPr>
        <p:spPr>
          <a:xfrm>
            <a:off x="5031025" y="2245756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,5B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F4460583-FEF1-426D-B58A-205248FF837D}"/>
              </a:ext>
            </a:extLst>
          </p:cNvPr>
          <p:cNvSpPr txBox="1">
            <a:spLocks/>
          </p:cNvSpPr>
          <p:nvPr/>
        </p:nvSpPr>
        <p:spPr>
          <a:xfrm>
            <a:off x="5726693" y="2028037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dirty="0">
                <a:solidFill>
                  <a:srgbClr val="F0F0F0">
                    <a:lumMod val="10000"/>
                  </a:srgb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</a:t>
            </a: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9BEBEAE0-7D06-47DC-955E-099BF1D9B115}"/>
              </a:ext>
            </a:extLst>
          </p:cNvPr>
          <p:cNvSpPr txBox="1">
            <a:spLocks/>
          </p:cNvSpPr>
          <p:nvPr/>
        </p:nvSpPr>
        <p:spPr>
          <a:xfrm>
            <a:off x="6354254" y="1746639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dirty="0">
                <a:solidFill>
                  <a:srgbClr val="F0F0F0">
                    <a:lumMod val="10000"/>
                  </a:srgb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,1</a:t>
            </a: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3BD3E5BB-0818-44DB-B8F0-DE45AE660B7C}"/>
              </a:ext>
            </a:extLst>
          </p:cNvPr>
          <p:cNvSpPr txBox="1">
            <a:spLocks/>
          </p:cNvSpPr>
          <p:nvPr/>
        </p:nvSpPr>
        <p:spPr>
          <a:xfrm>
            <a:off x="7058399" y="1407006"/>
            <a:ext cx="64125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b="1" dirty="0">
                <a:solidFill>
                  <a:srgbClr val="F0F0F0">
                    <a:lumMod val="10000"/>
                  </a:srgb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,1</a:t>
            </a: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srgbClr val="F0F0F0">
                    <a:lumMod val="10000"/>
                  </a:srgb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CC48DF4-40B8-4E82-B839-742DF946C4A8}"/>
              </a:ext>
            </a:extLst>
          </p:cNvPr>
          <p:cNvSpPr txBox="1">
            <a:spLocks/>
          </p:cNvSpPr>
          <p:nvPr/>
        </p:nvSpPr>
        <p:spPr>
          <a:xfrm>
            <a:off x="4629654" y="820491"/>
            <a:ext cx="3197904" cy="5180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b="1" dirty="0">
                <a:solidFill>
                  <a:srgbClr val="112870"/>
                </a:solidFill>
                <a:latin typeface="Open Sans"/>
              </a:rPr>
              <a:t>Népesség elöregedése</a:t>
            </a:r>
          </a:p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40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60 év feletti globális népesség</a:t>
            </a:r>
            <a:endParaRPr kumimoji="0" lang="hu-HU" sz="1400" b="0" i="0" u="none" strike="noStrike" kern="1200" cap="none" spc="0" normalizeH="0" baseline="0" dirty="0">
              <a:ln>
                <a:noFill/>
              </a:ln>
              <a:solidFill>
                <a:srgbClr val="F0F0F0">
                  <a:lumMod val="1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pic>
        <p:nvPicPr>
          <p:cNvPr id="26" name="Graphic 25" descr="Earth globe Africa and Europe">
            <a:extLst>
              <a:ext uri="{FF2B5EF4-FFF2-40B4-BE49-F238E27FC236}">
                <a16:creationId xmlns:a16="http://schemas.microsoft.com/office/drawing/2014/main" id="{06E20B9A-40E0-430F-A44F-179A44E29D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26131" y="2226146"/>
            <a:ext cx="1098721" cy="1098721"/>
          </a:xfrm>
          <a:prstGeom prst="rect">
            <a:avLst/>
          </a:prstGeom>
        </p:spPr>
      </p:pic>
      <p:pic>
        <p:nvPicPr>
          <p:cNvPr id="46" name="Graphic 45" descr="Gauge">
            <a:extLst>
              <a:ext uri="{FF2B5EF4-FFF2-40B4-BE49-F238E27FC236}">
                <a16:creationId xmlns:a16="http://schemas.microsoft.com/office/drawing/2014/main" id="{05812194-58AE-4609-AE16-79A6A4FD2A3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558649" y="1359109"/>
            <a:ext cx="914400" cy="914400"/>
          </a:xfrm>
          <a:prstGeom prst="rect">
            <a:avLst/>
          </a:prstGeom>
        </p:spPr>
      </p:pic>
      <p:pic>
        <p:nvPicPr>
          <p:cNvPr id="48" name="Graphic 47" descr="Exclamation mark">
            <a:extLst>
              <a:ext uri="{FF2B5EF4-FFF2-40B4-BE49-F238E27FC236}">
                <a16:creationId xmlns:a16="http://schemas.microsoft.com/office/drawing/2014/main" id="{0150D8B2-B842-4C5D-9B31-EA407277C4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54914" y="1860439"/>
            <a:ext cx="350724" cy="350724"/>
          </a:xfrm>
          <a:prstGeom prst="rect">
            <a:avLst/>
          </a:prstGeom>
        </p:spPr>
      </p:pic>
      <p:sp>
        <p:nvSpPr>
          <p:cNvPr id="155" name="TextBox 154">
            <a:extLst>
              <a:ext uri="{FF2B5EF4-FFF2-40B4-BE49-F238E27FC236}">
                <a16:creationId xmlns:a16="http://schemas.microsoft.com/office/drawing/2014/main" id="{AB85B299-4A38-4D70-BEE5-0A33A6918298}"/>
              </a:ext>
            </a:extLst>
          </p:cNvPr>
          <p:cNvSpPr txBox="1">
            <a:spLocks/>
          </p:cNvSpPr>
          <p:nvPr/>
        </p:nvSpPr>
        <p:spPr>
          <a:xfrm>
            <a:off x="8069586" y="820490"/>
            <a:ext cx="3693114" cy="5180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b="1" dirty="0">
                <a:solidFill>
                  <a:srgbClr val="112870"/>
                </a:solidFill>
                <a:latin typeface="Open Sans"/>
              </a:rPr>
              <a:t>Erőforrások szűkössége</a:t>
            </a:r>
          </a:p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40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Emberi életet elősegítő források csökkenése</a:t>
            </a:r>
            <a:endParaRPr kumimoji="0" lang="hu-HU" sz="1400" b="0" i="0" u="none" strike="noStrike" kern="1200" cap="none" spc="0" normalizeH="0" baseline="0" dirty="0">
              <a:ln>
                <a:noFill/>
              </a:ln>
              <a:solidFill>
                <a:srgbClr val="F0F0F0">
                  <a:lumMod val="1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pic>
        <p:nvPicPr>
          <p:cNvPr id="50" name="Graphic 49" descr="Watering pot">
            <a:extLst>
              <a:ext uri="{FF2B5EF4-FFF2-40B4-BE49-F238E27FC236}">
                <a16:creationId xmlns:a16="http://schemas.microsoft.com/office/drawing/2014/main" id="{90D31643-71CD-4458-9FC0-5C7333286C6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26838" y="2249202"/>
            <a:ext cx="1098721" cy="1098721"/>
          </a:xfrm>
          <a:prstGeom prst="rect">
            <a:avLst/>
          </a:prstGeom>
        </p:spPr>
      </p:pic>
      <p:graphicFrame>
        <p:nvGraphicFramePr>
          <p:cNvPr id="156" name="Chart 155">
            <a:extLst>
              <a:ext uri="{FF2B5EF4-FFF2-40B4-BE49-F238E27FC236}">
                <a16:creationId xmlns:a16="http://schemas.microsoft.com/office/drawing/2014/main" id="{85C41020-36E0-4FCC-94FC-368EA31E33A4}"/>
              </a:ext>
            </a:extLst>
          </p:cNvPr>
          <p:cNvGraphicFramePr>
            <a:graphicFrameLocks/>
          </p:cNvGraphicFramePr>
          <p:nvPr/>
        </p:nvGraphicFramePr>
        <p:xfrm>
          <a:off x="2028476" y="4383675"/>
          <a:ext cx="3876468" cy="1922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7" name="Rectangle 156">
            <a:extLst>
              <a:ext uri="{FF2B5EF4-FFF2-40B4-BE49-F238E27FC236}">
                <a16:creationId xmlns:a16="http://schemas.microsoft.com/office/drawing/2014/main" id="{2DC18571-44A3-4B49-8A53-3079710ECAB3}"/>
              </a:ext>
            </a:extLst>
          </p:cNvPr>
          <p:cNvSpPr/>
          <p:nvPr/>
        </p:nvSpPr>
        <p:spPr>
          <a:xfrm rot="16200000">
            <a:off x="1729926" y="5221893"/>
            <a:ext cx="555476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8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lliárd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4714F2E7-4AD5-4B93-A720-55DDC6E1CE3D}"/>
              </a:ext>
            </a:extLst>
          </p:cNvPr>
          <p:cNvSpPr/>
          <p:nvPr/>
        </p:nvSpPr>
        <p:spPr>
          <a:xfrm rot="5400000">
            <a:off x="5605916" y="5211531"/>
            <a:ext cx="486548" cy="99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8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/fő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65C3567F-D38F-44EA-9C32-C2C63BE8484E}"/>
              </a:ext>
            </a:extLst>
          </p:cNvPr>
          <p:cNvSpPr txBox="1">
            <a:spLocks/>
          </p:cNvSpPr>
          <p:nvPr/>
        </p:nvSpPr>
        <p:spPr>
          <a:xfrm>
            <a:off x="1891490" y="3557685"/>
            <a:ext cx="8546281" cy="7591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0"/>
              </a:spcBef>
              <a:spcAft>
                <a:spcPts val="200"/>
              </a:spcAft>
              <a:buFontTx/>
              <a:buNone/>
              <a:defRPr sz="1600"/>
            </a:lvl1pPr>
            <a:lvl2pPr marL="177800" lvl="1" indent="-1778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2pPr>
            <a:lvl3pPr marL="533400" lvl="2" indent="-261938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sz="1600"/>
            </a:lvl3pPr>
            <a:lvl4pPr marL="806450" lvl="3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600"/>
            </a:lvl4pPr>
            <a:lvl5pPr marL="1077913" lvl="4" indent="-228600"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hu-HU" sz="1800" b="1" dirty="0">
                <a:solidFill>
                  <a:srgbClr val="112870"/>
                </a:solidFill>
                <a:latin typeface="Open Sans"/>
              </a:rPr>
              <a:t>Globális </a:t>
            </a:r>
            <a:r>
              <a:rPr lang="hu-HU" sz="1800" b="1" dirty="0" err="1">
                <a:solidFill>
                  <a:srgbClr val="112870"/>
                </a:solidFill>
                <a:latin typeface="Open Sans"/>
              </a:rPr>
              <a:t>mezőg</a:t>
            </a:r>
            <a:r>
              <a:rPr lang="en-US" sz="1800" b="1" dirty="0">
                <a:solidFill>
                  <a:srgbClr val="112870"/>
                </a:solidFill>
                <a:latin typeface="Open Sans"/>
              </a:rPr>
              <a:t>a</a:t>
            </a:r>
            <a:r>
              <a:rPr lang="hu-HU" sz="1800" b="1" dirty="0" err="1">
                <a:solidFill>
                  <a:srgbClr val="112870"/>
                </a:solidFill>
                <a:latin typeface="Open Sans"/>
              </a:rPr>
              <a:t>zdasági</a:t>
            </a:r>
            <a:r>
              <a:rPr lang="hu-HU" sz="1800" b="1" dirty="0">
                <a:solidFill>
                  <a:srgbClr val="112870"/>
                </a:solidFill>
                <a:latin typeface="Open Sans"/>
              </a:rPr>
              <a:t> hiányok</a:t>
            </a:r>
          </a:p>
          <a:p>
            <a:pPr lvl="0" algn="ctr" defTabSz="93296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400" dirty="0">
                <a:solidFill>
                  <a:srgbClr val="F0F0F0">
                    <a:lumMod val="10000"/>
                  </a:srgbClr>
                </a:solidFill>
                <a:latin typeface="Open Sans"/>
              </a:rPr>
              <a:t>A 2030-as élelmiszer, takarmány és üzemanyagigény kielégítése érdekében </a:t>
            </a:r>
          </a:p>
          <a:p>
            <a:pPr lvl="0" algn="ctr" defTabSz="932962">
              <a:spcAft>
                <a:spcPts val="204"/>
              </a:spcAft>
              <a:buClr>
                <a:srgbClr val="FFFFFF"/>
              </a:buClr>
              <a:defRPr/>
            </a:pPr>
            <a:r>
              <a:rPr lang="hu-HU" sz="1400" b="1" dirty="0">
                <a:solidFill>
                  <a:srgbClr val="112870"/>
                </a:solidFill>
                <a:latin typeface="Open Sans"/>
              </a:rPr>
              <a:t>175-220 millió hektárnyi további termőföld szükséges</a:t>
            </a:r>
            <a:endParaRPr kumimoji="0" lang="hu-HU" sz="1400" b="1" i="0" u="none" strike="noStrike" kern="1200" cap="none" spc="0" normalizeH="0" baseline="0" dirty="0">
              <a:ln>
                <a:noFill/>
              </a:ln>
              <a:solidFill>
                <a:srgbClr val="11287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5C3C1445-7F95-4B80-B850-B039B722AF55}"/>
              </a:ext>
            </a:extLst>
          </p:cNvPr>
          <p:cNvSpPr/>
          <p:nvPr/>
        </p:nvSpPr>
        <p:spPr>
          <a:xfrm>
            <a:off x="2085037" y="6454633"/>
            <a:ext cx="3333355" cy="2272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lobális népesség / rendelkezésre </a:t>
            </a:r>
            <a:br>
              <a:rPr lang="hu-HU" sz="12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12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álló szántóföld (ha/fő) 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DB04B5A-5F1D-4041-B43E-37872C015CC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382349" y="4429841"/>
            <a:ext cx="3750570" cy="1952544"/>
          </a:xfrm>
          <a:prstGeom prst="rect">
            <a:avLst/>
          </a:prstGeom>
        </p:spPr>
      </p:pic>
      <p:sp>
        <p:nvSpPr>
          <p:cNvPr id="216" name="Rectangle 215">
            <a:extLst>
              <a:ext uri="{FF2B5EF4-FFF2-40B4-BE49-F238E27FC236}">
                <a16:creationId xmlns:a16="http://schemas.microsoft.com/office/drawing/2014/main" id="{2779F832-A789-4A57-9110-FDC9FFF78A54}"/>
              </a:ext>
            </a:extLst>
          </p:cNvPr>
          <p:cNvSpPr/>
          <p:nvPr/>
        </p:nvSpPr>
        <p:spPr>
          <a:xfrm>
            <a:off x="6631164" y="6454633"/>
            <a:ext cx="3333355" cy="2272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felhasznált földterület degradációja</a:t>
            </a:r>
          </a:p>
          <a:p>
            <a:pPr algn="ctr"/>
            <a:r>
              <a:rPr lang="hu-HU" sz="1050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llió</a:t>
            </a:r>
            <a:r>
              <a:rPr lang="hu-HU" sz="105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u-HU" sz="1050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ktár</a:t>
            </a:r>
            <a:r>
              <a:rPr lang="hu-HU" sz="105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hu-HU" sz="1050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zalék</a:t>
            </a:r>
            <a:endParaRPr lang="hu-HU" sz="1050" dirty="0">
              <a:solidFill>
                <a:srgbClr val="11287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9632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8E6105C-67F8-4E39-A87F-A4F4D6083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274991" cy="6858000"/>
          </a:xfrm>
          <a:prstGeom prst="rect">
            <a:avLst/>
          </a:prstGeom>
        </p:spPr>
      </p:pic>
      <p:sp>
        <p:nvSpPr>
          <p:cNvPr id="181" name="Rechteck 12">
            <a:extLst>
              <a:ext uri="{FF2B5EF4-FFF2-40B4-BE49-F238E27FC236}">
                <a16:creationId xmlns:a16="http://schemas.microsoft.com/office/drawing/2014/main" id="{A9199EA4-D0F0-4EE6-9904-9E20E1014810}"/>
              </a:ext>
            </a:extLst>
          </p:cNvPr>
          <p:cNvSpPr/>
          <p:nvPr/>
        </p:nvSpPr>
        <p:spPr>
          <a:xfrm>
            <a:off x="0" y="0"/>
            <a:ext cx="289514" cy="6858000"/>
          </a:xfrm>
          <a:prstGeom prst="rect">
            <a:avLst/>
          </a:prstGeom>
          <a:solidFill>
            <a:srgbClr val="143A83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  </a:t>
            </a:r>
          </a:p>
        </p:txBody>
      </p:sp>
      <p:pic>
        <p:nvPicPr>
          <p:cNvPr id="179" name="Bild 7" descr="Tungsram-T-emblem.png">
            <a:extLst>
              <a:ext uri="{FF2B5EF4-FFF2-40B4-BE49-F238E27FC236}">
                <a16:creationId xmlns:a16="http://schemas.microsoft.com/office/drawing/2014/main" id="{D81DB9FA-C6FB-4054-BFAB-86EE7181DD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94281" y="217485"/>
            <a:ext cx="290932" cy="288000"/>
          </a:xfrm>
          <a:prstGeom prst="rect">
            <a:avLst/>
          </a:prstGeom>
        </p:spPr>
      </p:pic>
      <p:sp>
        <p:nvSpPr>
          <p:cNvPr id="182" name="Szövegdoboz 14">
            <a:extLst>
              <a:ext uri="{FF2B5EF4-FFF2-40B4-BE49-F238E27FC236}">
                <a16:creationId xmlns:a16="http://schemas.microsoft.com/office/drawing/2014/main" id="{F1719F91-5E51-4264-A5ED-D6808D130674}"/>
              </a:ext>
            </a:extLst>
          </p:cNvPr>
          <p:cNvSpPr txBox="1"/>
          <p:nvPr/>
        </p:nvSpPr>
        <p:spPr>
          <a:xfrm>
            <a:off x="604870" y="217485"/>
            <a:ext cx="10819521" cy="512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>
                <a:solidFill>
                  <a:schemeClr val="bg1"/>
                </a:solidFill>
                <a:latin typeface="Open Sans Light"/>
                <a:cs typeface="Open Sans Light"/>
                <a:sym typeface="Calibri"/>
              </a:rPr>
              <a:t>Emberi</a:t>
            </a:r>
            <a:r>
              <a:rPr lang="en-US" sz="3200" dirty="0">
                <a:solidFill>
                  <a:schemeClr val="bg1"/>
                </a:solidFill>
                <a:latin typeface="Open Sans Light"/>
                <a:cs typeface="Open Sans Light"/>
                <a:sym typeface="Calibri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Open Sans Light"/>
                <a:cs typeface="Open Sans Light"/>
                <a:sym typeface="Calibri"/>
              </a:rPr>
              <a:t>jól-lét</a:t>
            </a:r>
            <a:endParaRPr lang="en-US" sz="3200" dirty="0">
              <a:solidFill>
                <a:schemeClr val="bg1"/>
              </a:solidFill>
              <a:latin typeface="Open Sans Light"/>
              <a:cs typeface="Open Sans Light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4226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Rechteck 12">
            <a:extLst>
              <a:ext uri="{FF2B5EF4-FFF2-40B4-BE49-F238E27FC236}">
                <a16:creationId xmlns:a16="http://schemas.microsoft.com/office/drawing/2014/main" id="{A9199EA4-D0F0-4EE6-9904-9E20E1014810}"/>
              </a:ext>
            </a:extLst>
          </p:cNvPr>
          <p:cNvSpPr/>
          <p:nvPr/>
        </p:nvSpPr>
        <p:spPr>
          <a:xfrm>
            <a:off x="0" y="0"/>
            <a:ext cx="289514" cy="6858000"/>
          </a:xfrm>
          <a:prstGeom prst="rect">
            <a:avLst/>
          </a:prstGeom>
          <a:solidFill>
            <a:srgbClr val="143A83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35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  </a:t>
            </a:r>
          </a:p>
        </p:txBody>
      </p:sp>
      <p:pic>
        <p:nvPicPr>
          <p:cNvPr id="179" name="Bild 7" descr="Tungsram-T-emblem.png">
            <a:extLst>
              <a:ext uri="{FF2B5EF4-FFF2-40B4-BE49-F238E27FC236}">
                <a16:creationId xmlns:a16="http://schemas.microsoft.com/office/drawing/2014/main" id="{D81DB9FA-C6FB-4054-BFAB-86EE7181DD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94281" y="217485"/>
            <a:ext cx="290932" cy="28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FEA3F-A6A3-4698-83EB-53C1C75D5662}"/>
              </a:ext>
            </a:extLst>
          </p:cNvPr>
          <p:cNvSpPr txBox="1"/>
          <p:nvPr/>
        </p:nvSpPr>
        <p:spPr>
          <a:xfrm>
            <a:off x="604870" y="409504"/>
            <a:ext cx="822121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200" dirty="0">
                <a:solidFill>
                  <a:prstClr val="black"/>
                </a:solidFill>
                <a:latin typeface="Open Sans Light"/>
                <a:cs typeface="Open Sans Light"/>
              </a:rPr>
              <a:t>Élelmiszerbiztonság</a:t>
            </a:r>
          </a:p>
          <a:p>
            <a:endParaRPr lang="hu-HU" b="1" dirty="0">
              <a:solidFill>
                <a:srgbClr val="11287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téri növénytermesztés: 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gyarország nagy lehetősé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világ 5 legnagyobb agrárkutató országa lehetü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tikális farm 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Tungsram telephelyé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aunhofer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tézet, Reading University használja lámpáinkat</a:t>
            </a:r>
            <a:endParaRPr lang="hu-HU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52944-5973-495C-92B9-53F4F73411EB}"/>
              </a:ext>
            </a:extLst>
          </p:cNvPr>
          <p:cNvSpPr txBox="1"/>
          <p:nvPr/>
        </p:nvSpPr>
        <p:spPr>
          <a:xfrm>
            <a:off x="5146110" y="2503012"/>
            <a:ext cx="704589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200" dirty="0">
                <a:solidFill>
                  <a:prstClr val="black"/>
                </a:solidFill>
                <a:latin typeface="Open Sans Light"/>
                <a:cs typeface="Open Sans Light"/>
              </a:rPr>
              <a:t>Fertőzés-megelőzés/fertőtlenítés</a:t>
            </a:r>
          </a:p>
          <a:p>
            <a:endParaRPr lang="hu-HU" b="1" dirty="0">
              <a:solidFill>
                <a:srgbClr val="11287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V-technológia: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1934 óta használja a Tungs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órokozók elpusztításának tiszta, vegyszermentes eszkö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V </a:t>
            </a:r>
            <a:r>
              <a:rPr lang="hu-HU" sz="1600" b="1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nitizer</a:t>
            </a: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ktikus, gyors fertőtlenítés, világszerte óriási érdeklőd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ámos új termék fejleszthető a technológiáv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9710D6-794B-4308-B554-EAA9904EFE04}"/>
              </a:ext>
            </a:extLst>
          </p:cNvPr>
          <p:cNvSpPr txBox="1"/>
          <p:nvPr/>
        </p:nvSpPr>
        <p:spPr>
          <a:xfrm>
            <a:off x="604870" y="4943748"/>
            <a:ext cx="802740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200" dirty="0">
                <a:solidFill>
                  <a:prstClr val="black"/>
                </a:solidFill>
                <a:latin typeface="Open Sans Light"/>
                <a:cs typeface="Open Sans Light"/>
              </a:rPr>
              <a:t>Költség- és energiahatékonyság</a:t>
            </a:r>
          </a:p>
          <a:p>
            <a:endParaRPr lang="hu-HU" b="1" dirty="0">
              <a:solidFill>
                <a:srgbClr val="11287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jektkivitelezési üzletág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agyarországon: LED-technológiá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art</a:t>
            </a: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egoldások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okos épületek, okos városok – </a:t>
            </a:r>
            <a:r>
              <a:rPr lang="hu-HU" sz="1600" dirty="0" err="1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chiFM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chnológiá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CO modell: </a:t>
            </a:r>
            <a:r>
              <a:rPr lang="hu-HU" sz="1600" dirty="0">
                <a:solidFill>
                  <a:srgbClr val="1128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hosszú távú energia-megtakarítás fedezi a beruházás költségét</a:t>
            </a:r>
          </a:p>
        </p:txBody>
      </p:sp>
      <p:pic>
        <p:nvPicPr>
          <p:cNvPr id="6" name="Picture 5" descr="A picture containing computer&#10;&#10;Description automatically generated">
            <a:extLst>
              <a:ext uri="{FF2B5EF4-FFF2-40B4-BE49-F238E27FC236}">
                <a16:creationId xmlns:a16="http://schemas.microsoft.com/office/drawing/2014/main" id="{E79A9024-F6CF-497B-B9D5-74DBE74CAE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76" y="2308638"/>
            <a:ext cx="4077050" cy="2533476"/>
          </a:xfrm>
          <a:prstGeom prst="rect">
            <a:avLst/>
          </a:prstGeom>
        </p:spPr>
      </p:pic>
      <p:pic>
        <p:nvPicPr>
          <p:cNvPr id="8" name="Picture 7" descr="A close up of a device&#10;&#10;Description automatically generated">
            <a:extLst>
              <a:ext uri="{FF2B5EF4-FFF2-40B4-BE49-F238E27FC236}">
                <a16:creationId xmlns:a16="http://schemas.microsoft.com/office/drawing/2014/main" id="{9088E558-4F64-4B32-AC35-9E6E7A8F78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762" y="92279"/>
            <a:ext cx="2723227" cy="2475346"/>
          </a:xfrm>
          <a:prstGeom prst="rect">
            <a:avLst/>
          </a:prstGeom>
        </p:spPr>
      </p:pic>
      <p:pic>
        <p:nvPicPr>
          <p:cNvPr id="14" name="Picture 13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FB4D7D4D-2B45-4C8D-9E66-0DC77A19A3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163" y="4842114"/>
            <a:ext cx="3032180" cy="17056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2199161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11861886" y="6431770"/>
            <a:ext cx="328526" cy="18251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GE Inspira Sans" charset="0"/>
              </a:defRPr>
            </a:lvl1pPr>
            <a:lvl2pPr marL="742727" indent="-285664">
              <a:defRPr>
                <a:solidFill>
                  <a:schemeClr val="tx1"/>
                </a:solidFill>
                <a:latin typeface="GE Inspira Sans" charset="0"/>
              </a:defRPr>
            </a:lvl2pPr>
            <a:lvl3pPr marL="1142657" indent="-228531">
              <a:defRPr>
                <a:solidFill>
                  <a:schemeClr val="tx1"/>
                </a:solidFill>
                <a:latin typeface="GE Inspira Sans" charset="0"/>
              </a:defRPr>
            </a:lvl3pPr>
            <a:lvl4pPr marL="1599720" indent="-228531">
              <a:defRPr>
                <a:solidFill>
                  <a:schemeClr val="tx1"/>
                </a:solidFill>
                <a:latin typeface="GE Inspira Sans" charset="0"/>
              </a:defRPr>
            </a:lvl4pPr>
            <a:lvl5pPr marL="2056783" indent="-228531">
              <a:defRPr>
                <a:solidFill>
                  <a:schemeClr val="tx1"/>
                </a:solidFill>
                <a:latin typeface="GE Inspira Sans" charset="0"/>
              </a:defRPr>
            </a:lvl5pPr>
            <a:lvl6pPr marL="2513846" indent="-2285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 Inspira Sans" charset="0"/>
              </a:defRPr>
            </a:lvl6pPr>
            <a:lvl7pPr marL="2970908" indent="-2285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 Inspira Sans" charset="0"/>
              </a:defRPr>
            </a:lvl7pPr>
            <a:lvl8pPr marL="3427971" indent="-2285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 Inspira Sans" charset="0"/>
              </a:defRPr>
            </a:lvl8pPr>
            <a:lvl9pPr marL="3885034" indent="-2285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 Inspira Sans" charset="0"/>
              </a:defRPr>
            </a:lvl9pPr>
          </a:lstStyle>
          <a:p>
            <a:pPr defTabSz="914126" fontAlgn="base">
              <a:spcBef>
                <a:spcPct val="0"/>
              </a:spcBef>
              <a:spcAft>
                <a:spcPct val="0"/>
              </a:spcAft>
              <a:defRPr/>
            </a:pPr>
            <a:fld id="{C039663D-2FC4-0641-9B8F-5035C69F94C7}" type="slidenum">
              <a:rPr lang="en-CA" altLang="en-US" sz="900">
                <a:solidFill>
                  <a:srgbClr val="63666A"/>
                </a:solidFill>
              </a:rPr>
              <a:pPr defTabSz="914126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CA" altLang="en-US" sz="90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037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WSVFXnFUOTrqFc7.9EQ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ungsram PPT Master 2019">
  <a:themeElements>
    <a:clrScheme name="Tungsram">
      <a:dk1>
        <a:srgbClr val="000000"/>
      </a:dk1>
      <a:lt1>
        <a:srgbClr val="FFFFFF"/>
      </a:lt1>
      <a:dk2>
        <a:srgbClr val="84888E"/>
      </a:dk2>
      <a:lt2>
        <a:srgbClr val="C8CBCE"/>
      </a:lt2>
      <a:accent1>
        <a:srgbClr val="143A84"/>
      </a:accent1>
      <a:accent2>
        <a:srgbClr val="000042"/>
      </a:accent2>
      <a:accent3>
        <a:srgbClr val="5F9BDC"/>
      </a:accent3>
      <a:accent4>
        <a:srgbClr val="E4051F"/>
      </a:accent4>
      <a:accent5>
        <a:srgbClr val="F0F2F4"/>
      </a:accent5>
      <a:accent6>
        <a:srgbClr val="DEE0E3"/>
      </a:accent6>
      <a:hlink>
        <a:srgbClr val="0563C1"/>
      </a:hlink>
      <a:folHlink>
        <a:srgbClr val="67144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="1" dirty="0">
            <a:solidFill>
              <a:schemeClr val="bg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B0253EF04BED4A96AC19BCC44E8604" ma:contentTypeVersion="10" ma:contentTypeDescription="Create a new document." ma:contentTypeScope="" ma:versionID="15cc3d3e8507a533966481dffa164674">
  <xsd:schema xmlns:xsd="http://www.w3.org/2001/XMLSchema" xmlns:xs="http://www.w3.org/2001/XMLSchema" xmlns:p="http://schemas.microsoft.com/office/2006/metadata/properties" xmlns:ns2="05f2497e-6599-4132-b36f-bf37284e8c5f" targetNamespace="http://schemas.microsoft.com/office/2006/metadata/properties" ma:root="true" ma:fieldsID="ffdb6ee5c4b14038d06a01b29a6c24a3" ns2:_="">
    <xsd:import namespace="05f2497e-6599-4132-b36f-bf37284e8c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f2497e-6599-4132-b36f-bf37284e8c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81765B3-BE0B-4F8A-BDC5-C9DDF0ABFC25}">
  <ds:schemaRefs>
    <ds:schemaRef ds:uri="http://schemas.microsoft.com/office/infopath/2007/PartnerControls"/>
    <ds:schemaRef ds:uri="http://schemas.microsoft.com/office/2006/metadata/properties"/>
    <ds:schemaRef ds:uri="http://purl.org/dc/dcmitype/"/>
    <ds:schemaRef ds:uri="http://purl.org/dc/terms/"/>
    <ds:schemaRef ds:uri="05f2497e-6599-4132-b36f-bf37284e8c5f"/>
    <ds:schemaRef ds:uri="http://www.w3.org/XML/1998/namespace"/>
    <ds:schemaRef ds:uri="http://schemas.microsoft.com/office/2006/documentManagement/types"/>
    <ds:schemaRef ds:uri="http://purl.org/dc/elements/1.1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4BB44586-E07E-4D41-9CE2-2DA3D97343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E07D69-6A0C-49CB-A58C-A7A006B6F7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f2497e-6599-4132-b36f-bf37284e8c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49</TotalTime>
  <Words>386</Words>
  <Application>Microsoft Office PowerPoint</Application>
  <PresentationFormat>Widescreen</PresentationFormat>
  <Paragraphs>95</Paragraphs>
  <Slides>7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Calibri</vt:lpstr>
      <vt:lpstr>Calibri Light</vt:lpstr>
      <vt:lpstr>GE Inspira Sans</vt:lpstr>
      <vt:lpstr>Open Sans</vt:lpstr>
      <vt:lpstr>Open Sans Light</vt:lpstr>
      <vt:lpstr>Open Sans Semibold</vt:lpstr>
      <vt:lpstr>Wingdings</vt:lpstr>
      <vt:lpstr>1_Office Theme</vt:lpstr>
      <vt:lpstr>Office-Design</vt:lpstr>
      <vt:lpstr>1_Office-Design</vt:lpstr>
      <vt:lpstr>Tungsram PPT Master 2019</vt:lpstr>
      <vt:lpstr>Jövőkép: cél az emberi jól-lét Innovatív megoldások Magyarországról a világna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ri, Pál (Tungsram)</dc:creator>
  <cp:lastModifiedBy>Eppel, Noel (Tungsram)</cp:lastModifiedBy>
  <cp:revision>22</cp:revision>
  <dcterms:created xsi:type="dcterms:W3CDTF">2019-11-27T11:07:31Z</dcterms:created>
  <dcterms:modified xsi:type="dcterms:W3CDTF">2020-09-24T09:4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B0253EF04BED4A96AC19BCC44E8604</vt:lpwstr>
  </property>
</Properties>
</file>